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68" r:id="rId2"/>
    <p:sldMasterId id="2147483674" r:id="rId3"/>
    <p:sldMasterId id="2147483704" r:id="rId4"/>
    <p:sldMasterId id="2147483872" r:id="rId5"/>
  </p:sldMasterIdLst>
  <p:notesMasterIdLst>
    <p:notesMasterId r:id="rId7"/>
  </p:notesMasterIdLst>
  <p:sldIdLst>
    <p:sldId id="440" r:id="rId6"/>
  </p:sldIdLst>
  <p:sldSz cx="7772400" cy="100584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68" userDrawn="1">
          <p15:clr>
            <a:srgbClr val="A4A3A4"/>
          </p15:clr>
        </p15:guide>
        <p15:guide id="2" pos="244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92E62"/>
    <a:srgbClr val="0886CA"/>
    <a:srgbClr val="F29307"/>
    <a:srgbClr val="DB1F3E"/>
    <a:srgbClr val="636466"/>
    <a:srgbClr val="001E3C"/>
    <a:srgbClr val="CC1185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8539"/>
    <p:restoredTop sz="94686"/>
  </p:normalViewPr>
  <p:slideViewPr>
    <p:cSldViewPr snapToGrid="0" snapToObjects="1">
      <p:cViewPr>
        <p:scale>
          <a:sx n="109" d="100"/>
          <a:sy n="109" d="100"/>
        </p:scale>
        <p:origin x="512" y="288"/>
      </p:cViewPr>
      <p:guideLst>
        <p:guide orient="horz" pos="3168"/>
        <p:guide pos="244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scohen/Downloads/Platform%20posting%20Cadence%20Views%20-%20POD%20Analysi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0980588046965"/>
          <c:y val="7.2117974317958897E-2"/>
          <c:w val="0.82243468641559503"/>
          <c:h val="0.51577724184447804"/>
        </c:manualLayout>
      </c:layout>
      <c:barChart>
        <c:barDir val="col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-1585692128"/>
        <c:axId val="-1585713712"/>
      </c:barChart>
      <c:catAx>
        <c:axId val="-158569212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1585713712"/>
        <c:crosses val="autoZero"/>
        <c:auto val="1"/>
        <c:lblAlgn val="ctr"/>
        <c:lblOffset val="100"/>
        <c:noMultiLvlLbl val="0"/>
      </c:catAx>
      <c:valAx>
        <c:axId val="-15857137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1585692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 b="0" i="0">
          <a:latin typeface="Bull Thin 2" charset="0"/>
          <a:ea typeface="Bull Thin 2" charset="0"/>
          <a:cs typeface="Bull Thin 2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C1C9DF-4F05-D644-AFFA-77A7DBB859BC}" type="datetimeFigureOut">
              <a:rPr lang="en-US" smtClean="0"/>
              <a:t>2/8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36788" y="1143000"/>
            <a:ext cx="23844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42955D-D684-BD45-A4BD-685DA4E45D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0339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ine heading,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ING LINE </a:t>
            </a:r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 hasCustomPrompt="1"/>
          </p:nvPr>
        </p:nvSpPr>
        <p:spPr>
          <a:xfrm>
            <a:off x="765096" y="2168771"/>
            <a:ext cx="6242645" cy="62299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r>
              <a:rPr lang="en-US" sz="907" dirty="0"/>
              <a:t>Sources &amp;</a:t>
            </a:r>
            <a:r>
              <a:rPr lang="en-US" sz="907" baseline="0" dirty="0"/>
              <a:t> Reporting Period</a:t>
            </a:r>
          </a:p>
          <a:p>
            <a:r>
              <a:rPr lang="en-US" sz="907" baseline="0" dirty="0"/>
              <a:t>Line 2</a:t>
            </a:r>
            <a:endParaRPr lang="en-US" sz="907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765532" y="1635919"/>
            <a:ext cx="6242209" cy="532840"/>
          </a:xfrm>
        </p:spPr>
        <p:txBody>
          <a:bodyPr lIns="0" anchor="t">
            <a:noAutofit/>
          </a:bodyPr>
          <a:lstStyle>
            <a:lvl1pPr marL="0" indent="0">
              <a:buNone/>
              <a:defRPr sz="1247" b="1" i="0" cap="all" baseline="0">
                <a:solidFill>
                  <a:srgbClr val="00203F"/>
                </a:solidFill>
                <a:latin typeface="+mn-lt"/>
                <a:ea typeface="Bull" charset="0"/>
                <a:cs typeface="Bull" charset="0"/>
              </a:defRPr>
            </a:lvl1pPr>
            <a:lvl2pPr marL="388551" indent="0">
              <a:buNone/>
              <a:defRPr sz="1020"/>
            </a:lvl2pPr>
            <a:lvl3pPr marL="777105" indent="0">
              <a:buNone/>
              <a:defRPr sz="1020"/>
            </a:lvl3pPr>
            <a:lvl4pPr marL="1165658" indent="0">
              <a:buNone/>
              <a:defRPr sz="1020"/>
            </a:lvl4pPr>
            <a:lvl5pPr marL="1554210" indent="0">
              <a:buNone/>
              <a:defRPr sz="1020"/>
            </a:lvl5pPr>
          </a:lstStyle>
          <a:p>
            <a:pPr lvl="0"/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67337" y="1176026"/>
            <a:ext cx="6239969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ine heading,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767796" y="1176585"/>
            <a:ext cx="6239510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765096" y="2168771"/>
            <a:ext cx="6242645" cy="62299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765532" y="1635919"/>
            <a:ext cx="6242209" cy="532840"/>
          </a:xfrm>
        </p:spPr>
        <p:txBody>
          <a:bodyPr anchor="t">
            <a:noAutofit/>
          </a:bodyPr>
          <a:lstStyle>
            <a:lvl1pPr marL="0" indent="0">
              <a:buNone/>
              <a:defRPr sz="1247" b="1" i="0" cap="all" baseline="0">
                <a:solidFill>
                  <a:srgbClr val="00203F"/>
                </a:solidFill>
                <a:latin typeface="+mn-lt"/>
                <a:ea typeface="Bull" charset="0"/>
                <a:cs typeface="Bull" charset="0"/>
              </a:defRPr>
            </a:lvl1pPr>
            <a:lvl2pPr marL="388551" indent="0">
              <a:buNone/>
              <a:defRPr sz="1020"/>
            </a:lvl2pPr>
            <a:lvl3pPr marL="777105" indent="0">
              <a:buNone/>
              <a:defRPr sz="1020"/>
            </a:lvl3pPr>
            <a:lvl4pPr marL="1165658" indent="0">
              <a:buNone/>
              <a:defRPr sz="1020"/>
            </a:lvl4pPr>
            <a:lvl5pPr marL="1554210" indent="0">
              <a:buNone/>
              <a:defRPr sz="1020"/>
            </a:lvl5pPr>
          </a:lstStyle>
          <a:p>
            <a:pPr lvl="0"/>
            <a:endParaRPr lang="en-US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ine Heading,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64659" y="2177682"/>
            <a:ext cx="6243088" cy="6240960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, 2 bullet,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767796" y="1176585"/>
            <a:ext cx="6239510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64659" y="246747"/>
            <a:ext cx="6243088" cy="84214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22"/>
          </p:nvPr>
        </p:nvSpPr>
        <p:spPr>
          <a:xfrm>
            <a:off x="765532" y="3091608"/>
            <a:ext cx="6242209" cy="53171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765532" y="2558751"/>
            <a:ext cx="6242209" cy="532840"/>
          </a:xfrm>
        </p:spPr>
        <p:txBody>
          <a:bodyPr anchor="t">
            <a:noAutofit/>
          </a:bodyPr>
          <a:lstStyle>
            <a:lvl1pPr marL="0" indent="0">
              <a:buNone/>
              <a:defRPr sz="1247" b="1" i="0" cap="all" baseline="0">
                <a:solidFill>
                  <a:srgbClr val="00203F"/>
                </a:solidFill>
                <a:latin typeface="Bull" charset="0"/>
                <a:ea typeface="Bull" charset="0"/>
                <a:cs typeface="Bull" charset="0"/>
              </a:defRPr>
            </a:lvl1pPr>
            <a:lvl2pPr marL="388551" indent="0">
              <a:buNone/>
              <a:defRPr sz="1020"/>
            </a:lvl2pPr>
            <a:lvl3pPr marL="777105" indent="0">
              <a:buNone/>
              <a:defRPr sz="1020"/>
            </a:lvl3pPr>
            <a:lvl4pPr marL="1165658" indent="0">
              <a:buNone/>
              <a:defRPr sz="1020"/>
            </a:lvl4pPr>
            <a:lvl5pPr marL="1554210" indent="0">
              <a:buNone/>
              <a:defRPr sz="102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765096" y="1331805"/>
            <a:ext cx="6242209" cy="952289"/>
          </a:xfrm>
        </p:spPr>
        <p:txBody>
          <a:bodyPr/>
          <a:lstStyle>
            <a:lvl1pPr>
              <a:spcBef>
                <a:spcPts val="0"/>
              </a:spcBef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ine Heading, 2 bullet,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767796" y="1176585"/>
            <a:ext cx="6239510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64659" y="2811366"/>
            <a:ext cx="6243088" cy="5607288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765096" y="1331805"/>
            <a:ext cx="6242209" cy="952289"/>
          </a:xfrm>
        </p:spPr>
        <p:txBody>
          <a:bodyPr/>
          <a:lstStyle>
            <a:lvl1pPr>
              <a:spcBef>
                <a:spcPts val="0"/>
              </a:spcBef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- WIng 1">
    <p:bg>
      <p:bgPr>
        <a:solidFill>
          <a:srgbClr val="001E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2712244" y="6097128"/>
            <a:ext cx="234791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23"/>
          <p:cNvGrpSpPr>
            <a:grpSpLocks/>
          </p:cNvGrpSpPr>
          <p:nvPr userDrawn="1"/>
        </p:nvGrpSpPr>
        <p:grpSpPr bwMode="auto">
          <a:xfrm>
            <a:off x="-151130" y="-344595"/>
            <a:ext cx="8085455" cy="10781737"/>
            <a:chOff x="-237360" y="-234665"/>
            <a:chExt cx="10396982" cy="7351041"/>
          </a:xfrm>
        </p:grpSpPr>
        <p:grpSp>
          <p:nvGrpSpPr>
            <p:cNvPr id="7" name="Group 24"/>
            <p:cNvGrpSpPr>
              <a:grpSpLocks/>
            </p:cNvGrpSpPr>
            <p:nvPr userDrawn="1"/>
          </p:nvGrpSpPr>
          <p:grpSpPr bwMode="auto">
            <a:xfrm>
              <a:off x="940447" y="-234665"/>
              <a:ext cx="8025208" cy="186573"/>
              <a:chOff x="940447" y="-308307"/>
              <a:chExt cx="8025208" cy="7436076"/>
            </a:xfrm>
          </p:grpSpPr>
          <p:cxnSp>
            <p:nvCxnSpPr>
              <p:cNvPr id="21" name="Straight Connector 20"/>
              <p:cNvCxnSpPr/>
              <p:nvPr userDrawn="1"/>
            </p:nvCxnSpPr>
            <p:spPr>
              <a:xfrm>
                <a:off x="940803" y="-308307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>
              <a:xfrm>
                <a:off x="8965843" y="-308307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oup 25"/>
            <p:cNvGrpSpPr>
              <a:grpSpLocks/>
            </p:cNvGrpSpPr>
            <p:nvPr userDrawn="1"/>
          </p:nvGrpSpPr>
          <p:grpSpPr bwMode="auto">
            <a:xfrm>
              <a:off x="-237360" y="364803"/>
              <a:ext cx="189246" cy="5362215"/>
              <a:chOff x="-276806" y="364803"/>
              <a:chExt cx="10477961" cy="5362215"/>
            </a:xfrm>
          </p:grpSpPr>
          <p:cxnSp>
            <p:nvCxnSpPr>
              <p:cNvPr id="17" name="Straight Connector 16"/>
              <p:cNvCxnSpPr/>
              <p:nvPr userDrawn="1"/>
            </p:nvCxnSpPr>
            <p:spPr>
              <a:xfrm>
                <a:off x="-276806" y="364340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 userDrawn="1"/>
            </p:nvCxnSpPr>
            <p:spPr>
              <a:xfrm>
                <a:off x="-276806" y="5727870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/>
              <p:cNvCxnSpPr/>
              <p:nvPr userDrawn="1"/>
            </p:nvCxnSpPr>
            <p:spPr>
              <a:xfrm>
                <a:off x="-276806" y="937947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 userDrawn="1"/>
            </p:nvCxnSpPr>
            <p:spPr>
              <a:xfrm>
                <a:off x="-276806" y="1507318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oup 26"/>
            <p:cNvGrpSpPr>
              <a:grpSpLocks/>
            </p:cNvGrpSpPr>
            <p:nvPr userDrawn="1"/>
          </p:nvGrpSpPr>
          <p:grpSpPr bwMode="auto">
            <a:xfrm>
              <a:off x="940447" y="6929803"/>
              <a:ext cx="8025208" cy="186573"/>
              <a:chOff x="940447" y="-308307"/>
              <a:chExt cx="8025208" cy="7436076"/>
            </a:xfrm>
          </p:grpSpPr>
          <p:cxnSp>
            <p:nvCxnSpPr>
              <p:cNvPr id="15" name="Straight Connector 14"/>
              <p:cNvCxnSpPr/>
              <p:nvPr userDrawn="1"/>
            </p:nvCxnSpPr>
            <p:spPr>
              <a:xfrm>
                <a:off x="940803" y="-295978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/>
              <p:nvPr userDrawn="1"/>
            </p:nvCxnSpPr>
            <p:spPr>
              <a:xfrm>
                <a:off x="8965843" y="-295978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27"/>
            <p:cNvGrpSpPr>
              <a:grpSpLocks/>
            </p:cNvGrpSpPr>
            <p:nvPr userDrawn="1"/>
          </p:nvGrpSpPr>
          <p:grpSpPr bwMode="auto">
            <a:xfrm>
              <a:off x="9970375" y="364803"/>
              <a:ext cx="189247" cy="5362215"/>
              <a:chOff x="-276871" y="364803"/>
              <a:chExt cx="10477995" cy="5362215"/>
            </a:xfrm>
          </p:grpSpPr>
          <p:cxnSp>
            <p:nvCxnSpPr>
              <p:cNvPr id="11" name="Straight Connector 10"/>
              <p:cNvCxnSpPr/>
              <p:nvPr userDrawn="1"/>
            </p:nvCxnSpPr>
            <p:spPr>
              <a:xfrm>
                <a:off x="-270396" y="364340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/>
              <p:cNvCxnSpPr/>
              <p:nvPr userDrawn="1"/>
            </p:nvCxnSpPr>
            <p:spPr>
              <a:xfrm>
                <a:off x="-270396" y="5727870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/>
              <p:cNvCxnSpPr/>
              <p:nvPr userDrawn="1"/>
            </p:nvCxnSpPr>
            <p:spPr>
              <a:xfrm>
                <a:off x="-270396" y="937947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/>
              <p:cNvCxnSpPr/>
              <p:nvPr userDrawn="1"/>
            </p:nvCxnSpPr>
            <p:spPr>
              <a:xfrm>
                <a:off x="-270396" y="1509436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6614" y="3402471"/>
            <a:ext cx="6239174" cy="2924387"/>
          </a:xfrm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defRPr sz="5695" b="0" i="0" cap="all" baseline="0">
                <a:solidFill>
                  <a:schemeClr val="bg1"/>
                </a:solidFill>
                <a:latin typeface="Bull Heavy 1" charset="0"/>
                <a:ea typeface="Bull Heavy 1" charset="0"/>
                <a:cs typeface="Bull Heavy 1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6614" y="6307398"/>
            <a:ext cx="6239174" cy="1024465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15" b="0" i="0" cap="all" baseline="0">
                <a:solidFill>
                  <a:schemeClr val="bg1"/>
                </a:solidFill>
                <a:latin typeface="Bull Thin 2" charset="0"/>
                <a:ea typeface="Bull Thin 2" charset="0"/>
                <a:cs typeface="Bull Thin 2" charset="0"/>
              </a:defRPr>
            </a:lvl1pPr>
            <a:lvl2pPr marL="388601" indent="0" algn="ctr">
              <a:buNone/>
              <a:defRPr sz="1700"/>
            </a:lvl2pPr>
            <a:lvl3pPr marL="777201" indent="0" algn="ctr">
              <a:buNone/>
              <a:defRPr sz="1615"/>
            </a:lvl3pPr>
            <a:lvl4pPr marL="1165802" indent="0" algn="ctr">
              <a:buNone/>
              <a:defRPr sz="1360"/>
            </a:lvl4pPr>
            <a:lvl5pPr marL="1554403" indent="0" algn="ctr">
              <a:buNone/>
              <a:defRPr sz="1360"/>
            </a:lvl5pPr>
            <a:lvl6pPr marL="1943003" indent="0" algn="ctr">
              <a:buNone/>
              <a:defRPr sz="1360"/>
            </a:lvl6pPr>
            <a:lvl7pPr marL="2331603" indent="0" algn="ctr">
              <a:buNone/>
              <a:defRPr sz="1360"/>
            </a:lvl7pPr>
            <a:lvl8pPr marL="2720204" indent="0" algn="ctr">
              <a:buNone/>
              <a:defRPr sz="1360"/>
            </a:lvl8pPr>
            <a:lvl9pPr marL="3108805" indent="0" algn="ctr">
              <a:buNone/>
              <a:defRPr sz="136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3564865" y="1030605"/>
            <a:ext cx="642671" cy="1478564"/>
          </a:xfrm>
          <a:prstGeom prst="ellipse">
            <a:avLst/>
          </a:prstGeom>
          <a:ln w="19050">
            <a:solidFill>
              <a:schemeClr val="bg2"/>
            </a:solidFill>
          </a:ln>
        </p:spPr>
        <p:txBody>
          <a:bodyPr lIns="35999" rIns="35999" anchor="ctr">
            <a:noAutofit/>
          </a:bodyPr>
          <a:lstStyle>
            <a:lvl1pPr marL="0" indent="0" algn="ctr">
              <a:buNone/>
              <a:defRPr sz="1360" b="0" i="0" baseline="0">
                <a:solidFill>
                  <a:schemeClr val="bg2"/>
                </a:solidFill>
                <a:latin typeface="Bull Heavy 1" charset="0"/>
                <a:ea typeface="Bull Heavy 1" charset="0"/>
                <a:cs typeface="Bull Heavy 1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7772400" cy="10058400"/>
          </a:xfrm>
          <a:custGeom>
            <a:avLst/>
            <a:gdLst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5143500 h 5143500"/>
              <a:gd name="connsiteX3" fmla="*/ 0 w 9144000"/>
              <a:gd name="connsiteY3" fmla="*/ 5143500 h 5143500"/>
              <a:gd name="connsiteX4" fmla="*/ 0 w 9144000"/>
              <a:gd name="connsiteY4" fmla="*/ 4683346 h 5143500"/>
              <a:gd name="connsiteX5" fmla="*/ 6628071 w 9144000"/>
              <a:gd name="connsiteY5" fmla="*/ 4683346 h 5143500"/>
              <a:gd name="connsiteX6" fmla="*/ 6858000 w 9144000"/>
              <a:gd name="connsiteY6" fmla="*/ 3513346 h 5143500"/>
              <a:gd name="connsiteX7" fmla="*/ 0 w 9144000"/>
              <a:gd name="connsiteY7" fmla="*/ 3513346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143500"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lnTo>
                  <a:pt x="0" y="4683346"/>
                </a:lnTo>
                <a:lnTo>
                  <a:pt x="6628071" y="4683346"/>
                </a:lnTo>
                <a:lnTo>
                  <a:pt x="6858000" y="3513346"/>
                </a:lnTo>
                <a:lnTo>
                  <a:pt x="0" y="3513346"/>
                </a:lnTo>
                <a:close/>
              </a:path>
            </a:pathLst>
          </a:custGeom>
        </p:spPr>
        <p:txBody>
          <a:bodyPr wrap="square" tIns="432000" anchor="ctr">
            <a:noAutofit/>
          </a:bodyPr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13" name="Freihandform 10"/>
          <p:cNvSpPr/>
          <p:nvPr userDrawn="1"/>
        </p:nvSpPr>
        <p:spPr bwMode="gray">
          <a:xfrm>
            <a:off x="0" y="6852943"/>
            <a:ext cx="5844600" cy="2323200"/>
          </a:xfrm>
          <a:custGeom>
            <a:avLst/>
            <a:gdLst>
              <a:gd name="connsiteX0" fmla="*/ 0 w 6847368"/>
              <a:gd name="connsiteY0" fmla="*/ 0 h 1143000"/>
              <a:gd name="connsiteX1" fmla="*/ 6847368 w 6847368"/>
              <a:gd name="connsiteY1" fmla="*/ 0 h 1143000"/>
              <a:gd name="connsiteX2" fmla="*/ 6618322 w 6847368"/>
              <a:gd name="connsiteY2" fmla="*/ 1143000 h 1143000"/>
              <a:gd name="connsiteX3" fmla="*/ 0 w 6847368"/>
              <a:gd name="connsiteY3" fmla="*/ 114300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47368" h="1143000">
                <a:moveTo>
                  <a:pt x="0" y="0"/>
                </a:moveTo>
                <a:lnTo>
                  <a:pt x="6847368" y="0"/>
                </a:lnTo>
                <a:lnTo>
                  <a:pt x="6618322" y="1143000"/>
                </a:lnTo>
                <a:lnTo>
                  <a:pt x="0" y="1143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de-DE"/>
            </a:defPPr>
            <a:lvl1pPr marL="0" algn="l" defTabSz="668426" rtl="0" eaLnBrk="1" latinLnBrk="0" hangingPunct="1">
              <a:defRPr sz="131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34213" algn="l" defTabSz="668426" rtl="0" eaLnBrk="1" latinLnBrk="0" hangingPunct="1">
              <a:defRPr sz="131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68426" algn="l" defTabSz="668426" rtl="0" eaLnBrk="1" latinLnBrk="0" hangingPunct="1">
              <a:defRPr sz="131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02640" algn="l" defTabSz="668426" rtl="0" eaLnBrk="1" latinLnBrk="0" hangingPunct="1">
              <a:defRPr sz="131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36853" algn="l" defTabSz="668426" rtl="0" eaLnBrk="1" latinLnBrk="0" hangingPunct="1">
              <a:defRPr sz="131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671066" algn="l" defTabSz="668426" rtl="0" eaLnBrk="1" latinLnBrk="0" hangingPunct="1">
              <a:defRPr sz="131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05279" algn="l" defTabSz="668426" rtl="0" eaLnBrk="1" latinLnBrk="0" hangingPunct="1">
              <a:defRPr sz="131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339492" algn="l" defTabSz="668426" rtl="0" eaLnBrk="1" latinLnBrk="0" hangingPunct="1">
              <a:defRPr sz="131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673706" algn="l" defTabSz="668426" rtl="0" eaLnBrk="1" latinLnBrk="0" hangingPunct="1">
              <a:defRPr sz="1316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92" dirty="0">
              <a:solidFill>
                <a:srgbClr val="D8D8D8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0" y="6878080"/>
            <a:ext cx="7772400" cy="2259840"/>
          </a:xfrm>
          <a:blipFill>
            <a:blip r:embed="rId2"/>
            <a:stretch>
              <a:fillRect/>
            </a:stretch>
          </a:blipFill>
        </p:spPr>
        <p:txBody>
          <a:bodyPr tIns="108000" rIns="2628000" anchor="ctr">
            <a:noAutofit/>
          </a:bodyPr>
          <a:lstStyle>
            <a:lvl1pPr algn="r">
              <a:defRPr sz="3627" spc="-113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975533"/>
            <a:ext cx="7071400" cy="1080347"/>
          </a:xfrm>
        </p:spPr>
        <p:txBody>
          <a:bodyPr anchor="ctr"/>
          <a:lstStyle>
            <a:lvl1pPr>
              <a:defRPr spc="-113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348815" y="2910420"/>
            <a:ext cx="707072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ithout line + text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013" y="2331"/>
          <a:ext cx="1012" cy="2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"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13" y="2331"/>
                        <a:ext cx="1012" cy="23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975533"/>
            <a:ext cx="7071400" cy="1080347"/>
          </a:xfrm>
        </p:spPr>
        <p:txBody>
          <a:bodyPr anchor="ctr"/>
          <a:lstStyle>
            <a:lvl1pPr>
              <a:defRPr spc="-113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348815" y="2910420"/>
            <a:ext cx="707072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hteck 13"/>
          <p:cNvSpPr/>
          <p:nvPr userDrawn="1"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ntered headline + subead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/>
          <p:cNvCxnSpPr/>
          <p:nvPr userDrawn="1"/>
        </p:nvCxnSpPr>
        <p:spPr bwMode="gray">
          <a:xfrm>
            <a:off x="0" y="1851783"/>
            <a:ext cx="6777900" cy="0"/>
          </a:xfrm>
          <a:prstGeom prst="line">
            <a:avLst/>
          </a:prstGeom>
          <a:ln w="3175" cmpd="sng"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6658981" cy="1080347"/>
          </a:xfrm>
        </p:spPr>
        <p:txBody>
          <a:bodyPr/>
          <a:lstStyle>
            <a:lvl1pPr algn="ct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2653020" y="1592157"/>
            <a:ext cx="2053260" cy="1046633"/>
          </a:xfrm>
          <a:solidFill>
            <a:schemeClr val="bg2"/>
          </a:solidFill>
        </p:spPr>
        <p:txBody>
          <a:bodyPr lIns="72000" rIns="72000">
            <a:spAutoFit/>
          </a:bodyPr>
          <a:lstStyle>
            <a:lvl1pPr marL="0" indent="0" algn="ctr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2pPr>
            <a:lvl3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3pPr>
            <a:lvl4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4pPr>
            <a:lvl5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5pPr>
            <a:lvl6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6pPr>
            <a:lvl7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7pPr>
            <a:lvl8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8pPr>
            <a:lvl9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348815" y="2910420"/>
            <a:ext cx="707072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hteck 13"/>
          <p:cNvSpPr/>
          <p:nvPr userDrawn="1"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ntered headline + subead +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/>
          <p:cNvCxnSpPr/>
          <p:nvPr userDrawn="1"/>
        </p:nvCxnSpPr>
        <p:spPr bwMode="gray">
          <a:xfrm>
            <a:off x="0" y="1851783"/>
            <a:ext cx="6777900" cy="0"/>
          </a:xfrm>
          <a:prstGeom prst="line">
            <a:avLst/>
          </a:prstGeom>
          <a:ln w="3175" cmpd="sng"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6658981" cy="1080347"/>
          </a:xfrm>
        </p:spPr>
        <p:txBody>
          <a:bodyPr/>
          <a:lstStyle>
            <a:lvl1pPr algn="ct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2653020" y="1592157"/>
            <a:ext cx="2053260" cy="1046633"/>
          </a:xfrm>
          <a:solidFill>
            <a:schemeClr val="bg2"/>
          </a:solidFill>
        </p:spPr>
        <p:txBody>
          <a:bodyPr lIns="72000" rIns="72000">
            <a:spAutoFit/>
          </a:bodyPr>
          <a:lstStyle>
            <a:lvl1pPr marL="0" indent="0" algn="ctr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2pPr>
            <a:lvl3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3pPr>
            <a:lvl4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4pPr>
            <a:lvl5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5pPr>
            <a:lvl6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6pPr>
            <a:lvl7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7pPr>
            <a:lvl8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8pPr>
            <a:lvl9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5066904" y="2910420"/>
            <a:ext cx="235263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hteck 13"/>
          <p:cNvSpPr/>
          <p:nvPr userDrawn="1"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5"/>
          </p:nvPr>
        </p:nvSpPr>
        <p:spPr bwMode="gray">
          <a:xfrm>
            <a:off x="2" y="2910421"/>
            <a:ext cx="4826715" cy="7147983"/>
          </a:xfrm>
        </p:spPr>
        <p:txBody>
          <a:bodyPr lIns="0" tIns="36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ine Heading,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764659" y="2177682"/>
            <a:ext cx="6243088" cy="6240960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CA" dirty="0"/>
              <a:t>Text goes here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CA" dirty="0"/>
              <a:t>HEADING LIN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767337" y="1176026"/>
            <a:ext cx="6239969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r>
              <a:rPr lang="en-US" sz="907" dirty="0"/>
              <a:t>Sources &amp;</a:t>
            </a:r>
            <a:r>
              <a:rPr lang="en-US" sz="907" baseline="0" dirty="0"/>
              <a:t> Reporting Period</a:t>
            </a:r>
          </a:p>
          <a:p>
            <a:r>
              <a:rPr lang="en-US" sz="907" baseline="0" dirty="0"/>
              <a:t>Line 2</a:t>
            </a:r>
            <a:endParaRPr lang="en-US" sz="907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ntered headline +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978560"/>
            <a:ext cx="6658981" cy="1080347"/>
          </a:xfrm>
        </p:spPr>
        <p:txBody>
          <a:bodyPr/>
          <a:lstStyle>
            <a:lvl1pPr algn="ct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5066904" y="2910420"/>
            <a:ext cx="235263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hteck 13"/>
          <p:cNvSpPr/>
          <p:nvPr userDrawn="1"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5"/>
          </p:nvPr>
        </p:nvSpPr>
        <p:spPr bwMode="gray">
          <a:xfrm>
            <a:off x="2" y="2910421"/>
            <a:ext cx="4826715" cy="7147983"/>
          </a:xfrm>
        </p:spPr>
        <p:txBody>
          <a:bodyPr lIns="0" tIns="36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ead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1592153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348815" y="2910420"/>
            <a:ext cx="707072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ead +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348814" y="2910420"/>
            <a:ext cx="3457800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/>
          </p:nvPr>
        </p:nvSpPr>
        <p:spPr bwMode="gray">
          <a:xfrm>
            <a:off x="3962701" y="2910420"/>
            <a:ext cx="3456839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1592153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ead + 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5065013" y="2910420"/>
            <a:ext cx="235452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348812" y="2910417"/>
            <a:ext cx="2332666" cy="6483840"/>
          </a:xfrm>
          <a:prstGeom prst="parallelogram">
            <a:avLst>
              <a:gd name="adj" fmla="val 19397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2492699" y="2910417"/>
            <a:ext cx="2332666" cy="6483840"/>
          </a:xfrm>
          <a:prstGeom prst="parallelogram">
            <a:avLst>
              <a:gd name="adj" fmla="val 19397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1592153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ead + 2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348811" y="2910420"/>
            <a:ext cx="235452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2942985" y="2910417"/>
            <a:ext cx="2332666" cy="6483840"/>
          </a:xfrm>
          <a:prstGeom prst="parallelogram">
            <a:avLst>
              <a:gd name="adj" fmla="val 19397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5086872" y="2910417"/>
            <a:ext cx="2332666" cy="6483840"/>
          </a:xfrm>
          <a:prstGeom prst="parallelogram">
            <a:avLst>
              <a:gd name="adj" fmla="val 19397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1592153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ithout line + image + additional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978560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-547601" y="2910421"/>
            <a:ext cx="5372966" cy="7147983"/>
          </a:xfrm>
          <a:prstGeom prst="parallelogram">
            <a:avLst>
              <a:gd name="adj" fmla="val 16409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 bwMode="gray">
          <a:xfrm>
            <a:off x="5065013" y="2910416"/>
            <a:ext cx="2354525" cy="64898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Rechteck 13"/>
          <p:cNvSpPr/>
          <p:nvPr userDrawn="1"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image + additional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978560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-547601" y="2910421"/>
            <a:ext cx="5372966" cy="7147983"/>
          </a:xfrm>
          <a:prstGeom prst="parallelogram">
            <a:avLst>
              <a:gd name="adj" fmla="val 16409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 bwMode="gray">
          <a:xfrm>
            <a:off x="5065013" y="2910416"/>
            <a:ext cx="2354525" cy="64898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head + image + additional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1" y="3107"/>
          <a:ext cx="1349" cy="31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51" y="3107"/>
                        <a:ext cx="1349" cy="31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-547601" y="2910421"/>
            <a:ext cx="5372966" cy="7147983"/>
          </a:xfrm>
          <a:prstGeom prst="parallelogram">
            <a:avLst>
              <a:gd name="adj" fmla="val 16409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1592153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 bwMode="gray">
          <a:xfrm>
            <a:off x="5065013" y="2910416"/>
            <a:ext cx="2354525" cy="64898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ntered headline + subead + image + additional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6658560" cy="1080347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-547601" y="2910421"/>
            <a:ext cx="5372966" cy="7147983"/>
          </a:xfrm>
          <a:prstGeom prst="parallelogram">
            <a:avLst>
              <a:gd name="adj" fmla="val 16409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 bwMode="gray">
          <a:xfrm>
            <a:off x="5065013" y="2910416"/>
            <a:ext cx="2354525" cy="64898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1851783"/>
            <a:ext cx="6777900" cy="0"/>
          </a:xfrm>
          <a:prstGeom prst="line">
            <a:avLst/>
          </a:prstGeom>
          <a:ln w="3175" cmpd="sng"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chteck 13"/>
          <p:cNvSpPr/>
          <p:nvPr userDrawn="1"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3"/>
          </p:nvPr>
        </p:nvSpPr>
        <p:spPr bwMode="gray">
          <a:xfrm>
            <a:off x="2653020" y="1592151"/>
            <a:ext cx="2053260" cy="1046633"/>
          </a:xfrm>
          <a:solidFill>
            <a:schemeClr val="bg2"/>
          </a:solidFill>
        </p:spPr>
        <p:txBody>
          <a:bodyPr lIns="72000" rIns="72000">
            <a:spAutoFit/>
          </a:bodyPr>
          <a:lstStyle>
            <a:lvl1pPr marL="0" indent="0" algn="ctr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2pPr>
            <a:lvl3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3pPr>
            <a:lvl4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4pPr>
            <a:lvl5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5pPr>
            <a:lvl6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6pPr>
            <a:lvl7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7pPr>
            <a:lvl8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8pPr>
            <a:lvl9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ead + headline + image + additional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1203840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-547601" y="2910421"/>
            <a:ext cx="5372966" cy="7147983"/>
          </a:xfrm>
          <a:prstGeom prst="parallelogram">
            <a:avLst>
              <a:gd name="adj" fmla="val 16409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682880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 bwMode="gray">
          <a:xfrm>
            <a:off x="5065013" y="2910416"/>
            <a:ext cx="2354525" cy="64898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, 2 bullet,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764659" y="246747"/>
            <a:ext cx="6243088" cy="84214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CA" dirty="0"/>
              <a:t>INSERT HEADER TITLE</a:t>
            </a:r>
            <a:endParaRPr lang="en-US" dirty="0"/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22"/>
          </p:nvPr>
        </p:nvSpPr>
        <p:spPr>
          <a:xfrm>
            <a:off x="765532" y="3091608"/>
            <a:ext cx="6242209" cy="531718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765532" y="2558751"/>
            <a:ext cx="6242209" cy="532840"/>
          </a:xfrm>
        </p:spPr>
        <p:txBody>
          <a:bodyPr lIns="0" anchor="t">
            <a:noAutofit/>
          </a:bodyPr>
          <a:lstStyle>
            <a:lvl1pPr marL="0" indent="0">
              <a:buNone/>
              <a:defRPr sz="1247" b="1" i="0" cap="all" baseline="0">
                <a:solidFill>
                  <a:srgbClr val="00203F"/>
                </a:solidFill>
                <a:latin typeface="Bull" charset="0"/>
                <a:ea typeface="Bull" charset="0"/>
                <a:cs typeface="Bull" charset="0"/>
              </a:defRPr>
            </a:lvl1pPr>
            <a:lvl2pPr marL="388551" indent="0">
              <a:buNone/>
              <a:defRPr sz="1020"/>
            </a:lvl2pPr>
            <a:lvl3pPr marL="777105" indent="0">
              <a:buNone/>
              <a:defRPr sz="1020"/>
            </a:lvl3pPr>
            <a:lvl4pPr marL="1165658" indent="0">
              <a:buNone/>
              <a:defRPr sz="1020"/>
            </a:lvl4pPr>
            <a:lvl5pPr marL="1554210" indent="0">
              <a:buNone/>
              <a:defRPr sz="1020"/>
            </a:lvl5pPr>
          </a:lstStyle>
          <a:p>
            <a:pPr lvl="0"/>
            <a:r>
              <a:rPr lang="en-CA" dirty="0"/>
              <a:t>Chart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765096" y="1331805"/>
            <a:ext cx="6242209" cy="952289"/>
          </a:xfrm>
        </p:spPr>
        <p:txBody>
          <a:bodyPr/>
          <a:lstStyle>
            <a:lvl1pPr>
              <a:spcBef>
                <a:spcPts val="0"/>
              </a:spcBef>
              <a:defRPr baseline="0"/>
            </a:lvl1pPr>
          </a:lstStyle>
          <a:p>
            <a:pPr lvl="0"/>
            <a:r>
              <a:rPr lang="en-US" dirty="0"/>
              <a:t>Sub-bullet point</a:t>
            </a:r>
          </a:p>
          <a:p>
            <a:pPr lvl="0"/>
            <a:r>
              <a:rPr lang="en-US" dirty="0"/>
              <a:t>Sub-bullet point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67337" y="1176026"/>
            <a:ext cx="6239969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r>
              <a:rPr lang="en-US" sz="907" dirty="0"/>
              <a:t>Sources &amp;</a:t>
            </a:r>
            <a:r>
              <a:rPr lang="en-US" sz="907" baseline="0" dirty="0"/>
              <a:t> Reporting Period</a:t>
            </a:r>
          </a:p>
          <a:p>
            <a:r>
              <a:rPr lang="en-US" sz="907" baseline="0" dirty="0"/>
              <a:t>Line 2</a:t>
            </a:r>
            <a:endParaRPr lang="en-US" sz="907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ead + image squar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5065013" y="2910420"/>
            <a:ext cx="235452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1" y="2910418"/>
            <a:ext cx="4825364" cy="7147983"/>
          </a:xfrm>
          <a:prstGeom prst="rect">
            <a:avLst/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1592153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image squar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978560"/>
            <a:ext cx="7071400" cy="1080347"/>
          </a:xfrm>
        </p:spPr>
        <p:txBody>
          <a:bodyPr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5065013" y="2910420"/>
            <a:ext cx="235452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1" y="2910418"/>
            <a:ext cx="4825364" cy="7147983"/>
          </a:xfrm>
          <a:prstGeom prst="rect">
            <a:avLst/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ihout line + image squar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978560"/>
            <a:ext cx="7071400" cy="1080347"/>
          </a:xfrm>
        </p:spPr>
        <p:txBody>
          <a:bodyPr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5065013" y="2910420"/>
            <a:ext cx="235452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1" y="2910418"/>
            <a:ext cx="4825364" cy="7147983"/>
          </a:xfrm>
          <a:prstGeom prst="rect">
            <a:avLst/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Rechteck 13"/>
          <p:cNvSpPr/>
          <p:nvPr userDrawn="1"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ead +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348810" y="2910417"/>
            <a:ext cx="2509200" cy="6483840"/>
          </a:xfrm>
          <a:prstGeom prst="parallelogram">
            <a:avLst>
              <a:gd name="adj" fmla="val 19397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2629574" y="2910417"/>
            <a:ext cx="2509200" cy="6483840"/>
          </a:xfrm>
          <a:prstGeom prst="parallelogram">
            <a:avLst>
              <a:gd name="adj" fmla="val 19397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7"/>
          </p:nvPr>
        </p:nvSpPr>
        <p:spPr bwMode="gray">
          <a:xfrm>
            <a:off x="4910338" y="2910417"/>
            <a:ext cx="2509200" cy="6483840"/>
          </a:xfrm>
          <a:prstGeom prst="parallelogram">
            <a:avLst>
              <a:gd name="adj" fmla="val 19397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1592153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ead + 3 text +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634879" y="2910420"/>
            <a:ext cx="2201100" cy="3050117"/>
          </a:xfrm>
          <a:prstGeom prst="parallelogram">
            <a:avLst>
              <a:gd name="adj" fmla="val 19397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2926659" y="2910420"/>
            <a:ext cx="2201100" cy="3050117"/>
          </a:xfrm>
          <a:prstGeom prst="parallelogram">
            <a:avLst>
              <a:gd name="adj" fmla="val 19397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7"/>
          </p:nvPr>
        </p:nvSpPr>
        <p:spPr bwMode="gray">
          <a:xfrm>
            <a:off x="5218440" y="2910420"/>
            <a:ext cx="2201100" cy="3050117"/>
          </a:xfrm>
          <a:prstGeom prst="parallelogram">
            <a:avLst>
              <a:gd name="adj" fmla="val 19397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48815" y="6345488"/>
            <a:ext cx="2202931" cy="3050117"/>
          </a:xfrm>
          <a:prstGeom prst="parallelogram">
            <a:avLst>
              <a:gd name="adj" fmla="val 19198"/>
            </a:avLst>
          </a:prstGeom>
          <a:solidFill>
            <a:schemeClr val="bg2"/>
          </a:solidFill>
          <a:effectLst>
            <a:outerShdw blurRad="152400" sx="102000" sy="102000" algn="ctr" rotWithShape="0">
              <a:srgbClr val="000000">
                <a:alpha val="15000"/>
              </a:srgbClr>
            </a:outerShdw>
          </a:effectLst>
        </p:spPr>
        <p:txBody>
          <a:bodyPr>
            <a:noAutofit/>
          </a:bodyPr>
          <a:lstStyle>
            <a:lvl1pPr>
              <a:defRPr sz="1360"/>
            </a:lvl1pPr>
            <a:lvl2pPr>
              <a:defRPr sz="1360"/>
            </a:lvl2pPr>
            <a:lvl3pPr>
              <a:defRPr sz="1360"/>
            </a:lvl3pPr>
            <a:lvl4pPr>
              <a:defRPr sz="1360"/>
            </a:lvl4pPr>
            <a:lvl5pPr>
              <a:defRPr sz="1360"/>
            </a:lvl5pPr>
            <a:lvl6pPr>
              <a:defRPr sz="1360"/>
            </a:lvl6pPr>
            <a:lvl7pPr>
              <a:defRPr sz="1360"/>
            </a:lvl7pPr>
            <a:lvl8pPr>
              <a:defRPr sz="1360"/>
            </a:lvl8pPr>
            <a:lvl9pPr>
              <a:defRPr sz="13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633605" y="6345488"/>
            <a:ext cx="2202931" cy="3050117"/>
          </a:xfrm>
          <a:prstGeom prst="parallelogram">
            <a:avLst>
              <a:gd name="adj" fmla="val 19198"/>
            </a:avLst>
          </a:prstGeom>
          <a:solidFill>
            <a:schemeClr val="bg2"/>
          </a:solidFill>
          <a:effectLst>
            <a:outerShdw blurRad="152400" sx="102000" sy="102000" algn="ctr" rotWithShape="0">
              <a:srgbClr val="000000">
                <a:alpha val="15000"/>
              </a:srgbClr>
            </a:outerShdw>
          </a:effectLst>
        </p:spPr>
        <p:txBody>
          <a:bodyPr>
            <a:noAutofit/>
          </a:bodyPr>
          <a:lstStyle>
            <a:lvl1pPr>
              <a:defRPr sz="1360"/>
            </a:lvl1pPr>
            <a:lvl2pPr>
              <a:defRPr sz="1360"/>
            </a:lvl2pPr>
            <a:lvl3pPr>
              <a:defRPr sz="1360"/>
            </a:lvl3pPr>
            <a:lvl4pPr>
              <a:defRPr sz="1360"/>
            </a:lvl4pPr>
            <a:lvl5pPr>
              <a:defRPr sz="1360"/>
            </a:lvl5pPr>
            <a:lvl6pPr>
              <a:defRPr sz="1360"/>
            </a:lvl6pPr>
            <a:lvl7pPr>
              <a:defRPr sz="1360"/>
            </a:lvl7pPr>
            <a:lvl8pPr>
              <a:defRPr sz="1360"/>
            </a:lvl8pPr>
            <a:lvl9pPr>
              <a:defRPr sz="13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0"/>
          </p:nvPr>
        </p:nvSpPr>
        <p:spPr bwMode="gray">
          <a:xfrm>
            <a:off x="4930482" y="6345488"/>
            <a:ext cx="2202931" cy="3050117"/>
          </a:xfrm>
          <a:prstGeom prst="parallelogram">
            <a:avLst>
              <a:gd name="adj" fmla="val 19198"/>
            </a:avLst>
          </a:prstGeom>
          <a:solidFill>
            <a:schemeClr val="bg2"/>
          </a:solidFill>
          <a:effectLst>
            <a:outerShdw blurRad="152400" sx="102000" sy="102000" algn="ctr" rotWithShape="0">
              <a:srgbClr val="000000">
                <a:alpha val="15000"/>
              </a:srgbClr>
            </a:outerShdw>
          </a:effectLst>
        </p:spPr>
        <p:txBody>
          <a:bodyPr>
            <a:noAutofit/>
          </a:bodyPr>
          <a:lstStyle>
            <a:lvl1pPr>
              <a:defRPr sz="1360"/>
            </a:lvl1pPr>
            <a:lvl2pPr>
              <a:defRPr sz="1360"/>
            </a:lvl2pPr>
            <a:lvl3pPr>
              <a:defRPr sz="1360"/>
            </a:lvl3pPr>
            <a:lvl4pPr>
              <a:defRPr sz="1360"/>
            </a:lvl4pPr>
            <a:lvl5pPr>
              <a:defRPr sz="1360"/>
            </a:lvl5pPr>
            <a:lvl6pPr>
              <a:defRPr sz="1360"/>
            </a:lvl6pPr>
            <a:lvl7pPr>
              <a:defRPr sz="1360"/>
            </a:lvl7pPr>
            <a:lvl8pPr>
              <a:defRPr sz="1360"/>
            </a:lvl8pPr>
            <a:lvl9pPr>
              <a:defRPr sz="13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1592153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ithout line + image element + additional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978560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48814" y="2908868"/>
            <a:ext cx="2656514" cy="6486737"/>
          </a:xfrm>
          <a:prstGeom prst="parallelogram">
            <a:avLst>
              <a:gd name="adj" fmla="val 19198"/>
            </a:avLst>
          </a:prstGeom>
          <a:solidFill>
            <a:schemeClr val="bg2"/>
          </a:solidFill>
          <a:effectLst>
            <a:outerShdw blurRad="152400" sx="102000" sy="102000" algn="ctr" rotWithShape="0">
              <a:srgbClr val="000000">
                <a:alpha val="15000"/>
              </a:srgbClr>
            </a:outerShdw>
          </a:effectLst>
        </p:spPr>
        <p:txBody>
          <a:bodyPr lIns="0" tIns="1332000">
            <a:noAutofit/>
          </a:bodyPr>
          <a:lstStyle>
            <a:lvl1pPr>
              <a:defRPr sz="1360"/>
            </a:lvl1pPr>
            <a:lvl2pPr>
              <a:defRPr sz="1360"/>
            </a:lvl2pPr>
            <a:lvl3pPr>
              <a:defRPr sz="1360"/>
            </a:lvl3pPr>
            <a:lvl4pPr>
              <a:defRPr sz="1360"/>
            </a:lvl4pPr>
            <a:lvl5pPr>
              <a:defRPr sz="1360"/>
            </a:lvl5pPr>
            <a:lvl6pPr>
              <a:defRPr sz="1360"/>
            </a:lvl6pPr>
            <a:lvl7pPr>
              <a:defRPr sz="1360"/>
            </a:lvl7pPr>
            <a:lvl8pPr>
              <a:defRPr sz="1360"/>
            </a:lvl8pPr>
            <a:lvl9pPr>
              <a:defRPr sz="13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697490" y="3119039"/>
            <a:ext cx="2201100" cy="3050117"/>
          </a:xfrm>
          <a:prstGeom prst="parallelogram">
            <a:avLst>
              <a:gd name="adj" fmla="val 18094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20"/>
          </p:nvPr>
        </p:nvSpPr>
        <p:spPr bwMode="gray">
          <a:xfrm>
            <a:off x="3328909" y="2908867"/>
            <a:ext cx="4092654" cy="64867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hteck 13"/>
          <p:cNvSpPr/>
          <p:nvPr userDrawn="1"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image element + additional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978560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48814" y="2908868"/>
            <a:ext cx="2656514" cy="6486737"/>
          </a:xfrm>
          <a:prstGeom prst="parallelogram">
            <a:avLst>
              <a:gd name="adj" fmla="val 19198"/>
            </a:avLst>
          </a:prstGeom>
          <a:solidFill>
            <a:schemeClr val="bg2"/>
          </a:solidFill>
          <a:effectLst>
            <a:outerShdw blurRad="152400" sx="102000" sy="102000" algn="ctr" rotWithShape="0">
              <a:srgbClr val="000000">
                <a:alpha val="15000"/>
              </a:srgbClr>
            </a:outerShdw>
          </a:effectLst>
        </p:spPr>
        <p:txBody>
          <a:bodyPr lIns="0" tIns="1332000">
            <a:noAutofit/>
          </a:bodyPr>
          <a:lstStyle>
            <a:lvl1pPr>
              <a:defRPr sz="1360"/>
            </a:lvl1pPr>
            <a:lvl2pPr>
              <a:defRPr sz="1360"/>
            </a:lvl2pPr>
            <a:lvl3pPr>
              <a:defRPr sz="1360"/>
            </a:lvl3pPr>
            <a:lvl4pPr>
              <a:defRPr sz="1360"/>
            </a:lvl4pPr>
            <a:lvl5pPr>
              <a:defRPr sz="1360"/>
            </a:lvl5pPr>
            <a:lvl6pPr>
              <a:defRPr sz="1360"/>
            </a:lvl6pPr>
            <a:lvl7pPr>
              <a:defRPr sz="1360"/>
            </a:lvl7pPr>
            <a:lvl8pPr>
              <a:defRPr sz="1360"/>
            </a:lvl8pPr>
            <a:lvl9pPr>
              <a:defRPr sz="13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697490" y="3119039"/>
            <a:ext cx="2201100" cy="3050117"/>
          </a:xfrm>
          <a:prstGeom prst="parallelogram">
            <a:avLst>
              <a:gd name="adj" fmla="val 18094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20"/>
          </p:nvPr>
        </p:nvSpPr>
        <p:spPr bwMode="gray">
          <a:xfrm>
            <a:off x="3328909" y="2908867"/>
            <a:ext cx="4092654" cy="64867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ead + image element + additional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48814" y="2908868"/>
            <a:ext cx="2656514" cy="6486737"/>
          </a:xfrm>
          <a:prstGeom prst="parallelogram">
            <a:avLst>
              <a:gd name="adj" fmla="val 19198"/>
            </a:avLst>
          </a:prstGeom>
          <a:solidFill>
            <a:schemeClr val="bg2"/>
          </a:solidFill>
          <a:effectLst>
            <a:outerShdw blurRad="152400" sx="102000" sy="102000" algn="ctr" rotWithShape="0">
              <a:srgbClr val="000000">
                <a:alpha val="15000"/>
              </a:srgbClr>
            </a:outerShdw>
          </a:effectLst>
        </p:spPr>
        <p:txBody>
          <a:bodyPr lIns="0" tIns="1332000">
            <a:noAutofit/>
          </a:bodyPr>
          <a:lstStyle>
            <a:lvl1pPr>
              <a:defRPr sz="1360"/>
            </a:lvl1pPr>
            <a:lvl2pPr>
              <a:defRPr sz="1360"/>
            </a:lvl2pPr>
            <a:lvl3pPr>
              <a:defRPr sz="1360"/>
            </a:lvl3pPr>
            <a:lvl4pPr>
              <a:defRPr sz="1360"/>
            </a:lvl4pPr>
            <a:lvl5pPr>
              <a:defRPr sz="1360"/>
            </a:lvl5pPr>
            <a:lvl6pPr>
              <a:defRPr sz="1360"/>
            </a:lvl6pPr>
            <a:lvl7pPr>
              <a:defRPr sz="1360"/>
            </a:lvl7pPr>
            <a:lvl8pPr>
              <a:defRPr sz="1360"/>
            </a:lvl8pPr>
            <a:lvl9pPr>
              <a:defRPr sz="13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1592153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697490" y="3119039"/>
            <a:ext cx="2201100" cy="3050117"/>
          </a:xfrm>
          <a:prstGeom prst="parallelogram">
            <a:avLst>
              <a:gd name="adj" fmla="val 18094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20"/>
          </p:nvPr>
        </p:nvSpPr>
        <p:spPr bwMode="gray">
          <a:xfrm>
            <a:off x="3328909" y="2908867"/>
            <a:ext cx="4092654" cy="64867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ntered headline + subead + image element + additional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6658560" cy="1080347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48814" y="2908868"/>
            <a:ext cx="2656514" cy="6486737"/>
          </a:xfrm>
          <a:prstGeom prst="parallelogram">
            <a:avLst>
              <a:gd name="adj" fmla="val 19198"/>
            </a:avLst>
          </a:prstGeom>
          <a:solidFill>
            <a:schemeClr val="bg2"/>
          </a:solidFill>
          <a:effectLst>
            <a:outerShdw blurRad="152400" sx="102000" sy="102000" algn="ctr" rotWithShape="0">
              <a:srgbClr val="000000">
                <a:alpha val="15000"/>
              </a:srgbClr>
            </a:outerShdw>
          </a:effectLst>
        </p:spPr>
        <p:txBody>
          <a:bodyPr lIns="0" tIns="1332000">
            <a:noAutofit/>
          </a:bodyPr>
          <a:lstStyle>
            <a:lvl1pPr>
              <a:defRPr sz="1360"/>
            </a:lvl1pPr>
            <a:lvl2pPr>
              <a:defRPr sz="1360"/>
            </a:lvl2pPr>
            <a:lvl3pPr>
              <a:defRPr sz="1360"/>
            </a:lvl3pPr>
            <a:lvl4pPr>
              <a:defRPr sz="1360"/>
            </a:lvl4pPr>
            <a:lvl5pPr>
              <a:defRPr sz="1360"/>
            </a:lvl5pPr>
            <a:lvl6pPr>
              <a:defRPr sz="1360"/>
            </a:lvl6pPr>
            <a:lvl7pPr>
              <a:defRPr sz="1360"/>
            </a:lvl7pPr>
            <a:lvl8pPr>
              <a:defRPr sz="1360"/>
            </a:lvl8pPr>
            <a:lvl9pPr>
              <a:defRPr sz="13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697490" y="3119039"/>
            <a:ext cx="2201100" cy="3050117"/>
          </a:xfrm>
          <a:prstGeom prst="parallelogram">
            <a:avLst>
              <a:gd name="adj" fmla="val 18094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20"/>
          </p:nvPr>
        </p:nvSpPr>
        <p:spPr bwMode="gray">
          <a:xfrm>
            <a:off x="3328909" y="2908867"/>
            <a:ext cx="4092654" cy="64867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0" y="1851783"/>
            <a:ext cx="6777900" cy="0"/>
          </a:xfrm>
          <a:prstGeom prst="line">
            <a:avLst/>
          </a:prstGeom>
          <a:ln w="3175" cmpd="sng"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hteck 13"/>
          <p:cNvSpPr/>
          <p:nvPr userDrawn="1"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2653020" y="1592154"/>
            <a:ext cx="2053260" cy="1046633"/>
          </a:xfrm>
          <a:solidFill>
            <a:schemeClr val="bg2"/>
          </a:solidFill>
        </p:spPr>
        <p:txBody>
          <a:bodyPr lIns="72000" rIns="72000">
            <a:spAutoFit/>
          </a:bodyPr>
          <a:lstStyle>
            <a:lvl1pPr marL="0" indent="0" algn="ctr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2pPr>
            <a:lvl3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3pPr>
            <a:lvl4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4pPr>
            <a:lvl5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5pPr>
            <a:lvl6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6pPr>
            <a:lvl7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7pPr>
            <a:lvl8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8pPr>
            <a:lvl9pPr marL="0" indent="0" algn="ctr">
              <a:buNone/>
              <a:defRPr sz="2267" cap="all" spc="-57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ead + headline + image element + additional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1203840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48814" y="2908868"/>
            <a:ext cx="2656514" cy="6486737"/>
          </a:xfrm>
          <a:prstGeom prst="parallelogram">
            <a:avLst>
              <a:gd name="adj" fmla="val 19198"/>
            </a:avLst>
          </a:prstGeom>
          <a:solidFill>
            <a:schemeClr val="bg2"/>
          </a:solidFill>
          <a:effectLst>
            <a:outerShdw blurRad="152400" sx="102000" sy="102000" algn="ctr" rotWithShape="0">
              <a:srgbClr val="000000">
                <a:alpha val="15000"/>
              </a:srgbClr>
            </a:outerShdw>
          </a:effectLst>
        </p:spPr>
        <p:txBody>
          <a:bodyPr lIns="0" tIns="1332000">
            <a:noAutofit/>
          </a:bodyPr>
          <a:lstStyle>
            <a:lvl1pPr>
              <a:defRPr sz="1360"/>
            </a:lvl1pPr>
            <a:lvl2pPr>
              <a:defRPr sz="1360"/>
            </a:lvl2pPr>
            <a:lvl3pPr>
              <a:defRPr sz="1360"/>
            </a:lvl3pPr>
            <a:lvl4pPr>
              <a:defRPr sz="1360"/>
            </a:lvl4pPr>
            <a:lvl5pPr>
              <a:defRPr sz="1360"/>
            </a:lvl5pPr>
            <a:lvl6pPr>
              <a:defRPr sz="1360"/>
            </a:lvl6pPr>
            <a:lvl7pPr>
              <a:defRPr sz="1360"/>
            </a:lvl7pPr>
            <a:lvl8pPr>
              <a:defRPr sz="1360"/>
            </a:lvl8pPr>
            <a:lvl9pPr>
              <a:defRPr sz="136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682880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 bwMode="gray">
          <a:xfrm>
            <a:off x="697490" y="3119039"/>
            <a:ext cx="2201100" cy="3050117"/>
          </a:xfrm>
          <a:prstGeom prst="parallelogram">
            <a:avLst>
              <a:gd name="adj" fmla="val 18094"/>
            </a:avLst>
          </a:prstGeom>
        </p:spPr>
        <p:txBody>
          <a:bodyPr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20"/>
          </p:nvPr>
        </p:nvSpPr>
        <p:spPr bwMode="gray">
          <a:xfrm>
            <a:off x="3328909" y="2908867"/>
            <a:ext cx="4092654" cy="64867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ine Heading, 2 bullet,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764659" y="2811366"/>
            <a:ext cx="6243088" cy="5607288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CA" dirty="0"/>
              <a:t>Text goes here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CA" dirty="0"/>
              <a:t>HEADING LI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765096" y="1331805"/>
            <a:ext cx="6242209" cy="952289"/>
          </a:xfrm>
        </p:spPr>
        <p:txBody>
          <a:bodyPr/>
          <a:lstStyle>
            <a:lvl1pPr>
              <a:spcBef>
                <a:spcPts val="0"/>
              </a:spcBef>
              <a:defRPr baseline="0"/>
            </a:lvl1pPr>
          </a:lstStyle>
          <a:p>
            <a:pPr lvl="0"/>
            <a:r>
              <a:rPr lang="en-US" dirty="0"/>
              <a:t>Sub-bullet point</a:t>
            </a:r>
          </a:p>
          <a:p>
            <a:pPr lvl="0"/>
            <a:r>
              <a:rPr lang="en-US" dirty="0"/>
              <a:t>Sub-bullet point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67337" y="1176026"/>
            <a:ext cx="6239969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r>
              <a:rPr lang="en-US" sz="907" dirty="0"/>
              <a:t>Sources &amp;</a:t>
            </a:r>
            <a:r>
              <a:rPr lang="en-US" sz="907" baseline="0" dirty="0"/>
              <a:t> Reporting Period</a:t>
            </a:r>
          </a:p>
          <a:p>
            <a:r>
              <a:rPr lang="en-US" sz="907" baseline="0" dirty="0"/>
              <a:t>Line 2</a:t>
            </a:r>
            <a:endParaRPr lang="en-US" sz="907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ead + headlin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4" y="1202903"/>
            <a:ext cx="7071400" cy="108034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348815" y="684206"/>
            <a:ext cx="7070725" cy="573197"/>
          </a:xfrm>
        </p:spPr>
        <p:txBody>
          <a:bodyPr>
            <a:noAutofit/>
          </a:bodyPr>
          <a:lstStyle>
            <a:lvl1pPr marL="0" indent="0" algn="l">
              <a:buNone/>
              <a:defRPr sz="2267" cap="all" spc="-57" baseline="0">
                <a:solidFill>
                  <a:schemeClr val="tx2"/>
                </a:solidFill>
                <a:latin typeface="+mj-lt"/>
              </a:defRPr>
            </a:lvl1pPr>
            <a:lvl2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2pPr>
            <a:lvl3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3pPr>
            <a:lvl4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4pPr>
            <a:lvl5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5pPr>
            <a:lvl6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6pPr>
            <a:lvl7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8pPr>
            <a:lvl9pPr marL="0" indent="0" algn="l">
              <a:buNone/>
              <a:defRPr sz="2267" cap="all" baseline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348815" y="2910420"/>
            <a:ext cx="7070725" cy="6485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48813" y="4377267"/>
            <a:ext cx="7071400" cy="1080347"/>
          </a:xfrm>
        </p:spPr>
        <p:txBody>
          <a:bodyPr anchor="ctr">
            <a:noAutofit/>
          </a:bodyPr>
          <a:lstStyle>
            <a:lvl1pPr algn="ctr">
              <a:defRPr sz="612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 bwMode="gray">
          <a:xfrm rot="5400000">
            <a:off x="-4999686" y="4999689"/>
            <a:ext cx="10058407" cy="590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00" tIns="81600" rIns="81600" bIns="81600" rtlCol="0" anchor="ctr"/>
          <a:lstStyle/>
          <a:p>
            <a:pPr algn="ctr"/>
            <a:endParaRPr lang="en-US" sz="1587" dirty="0">
              <a:solidFill>
                <a:srgbClr val="FFFFFF"/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7" name="Rechteck 13"/>
          <p:cNvSpPr/>
          <p:nvPr userDrawn="1"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7772400" cy="10058400"/>
          </a:xfrm>
        </p:spPr>
        <p:txBody>
          <a:bodyPr lIns="0" tIns="432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7772400" cy="10058400"/>
          </a:xfrm>
        </p:spPr>
        <p:txBody>
          <a:bodyPr tIns="432000"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0" y="6878080"/>
            <a:ext cx="7772400" cy="2259840"/>
          </a:xfrm>
          <a:blipFill>
            <a:blip r:embed="rId2"/>
            <a:stretch>
              <a:fillRect/>
            </a:stretch>
          </a:blipFill>
        </p:spPr>
        <p:txBody>
          <a:bodyPr tIns="108000" rIns="2628000" anchor="ctr">
            <a:noAutofit/>
          </a:bodyPr>
          <a:lstStyle>
            <a:lvl1pPr algn="r">
              <a:defRPr sz="3627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930" y="1646133"/>
            <a:ext cx="6606540" cy="3501813"/>
          </a:xfrm>
        </p:spPr>
        <p:txBody>
          <a:bodyPr anchor="b"/>
          <a:lstStyle>
            <a:lvl1pPr algn="ctr">
              <a:defRPr sz="5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71550" y="5282989"/>
            <a:ext cx="5829300" cy="2428451"/>
          </a:xfrm>
        </p:spPr>
        <p:txBody>
          <a:bodyPr/>
          <a:lstStyle>
            <a:lvl1pPr marL="0" indent="0" algn="ctr">
              <a:buNone/>
              <a:defRPr sz="2040"/>
            </a:lvl1pPr>
            <a:lvl2pPr marL="388620" indent="0" algn="ctr">
              <a:buNone/>
              <a:defRPr sz="1700"/>
            </a:lvl2pPr>
            <a:lvl3pPr marL="777240" indent="0" algn="ctr">
              <a:buNone/>
              <a:defRPr sz="1530"/>
            </a:lvl3pPr>
            <a:lvl4pPr marL="1165860" indent="0" algn="ctr">
              <a:buNone/>
              <a:defRPr sz="1360"/>
            </a:lvl4pPr>
            <a:lvl5pPr marL="1554480" indent="0" algn="ctr">
              <a:buNone/>
              <a:defRPr sz="1360"/>
            </a:lvl5pPr>
            <a:lvl6pPr marL="1943100" indent="0" algn="ctr">
              <a:buNone/>
              <a:defRPr sz="1360"/>
            </a:lvl6pPr>
            <a:lvl7pPr marL="2331720" indent="0" algn="ctr">
              <a:buNone/>
              <a:defRPr sz="1360"/>
            </a:lvl7pPr>
            <a:lvl8pPr marL="2720340" indent="0" algn="ctr">
              <a:buNone/>
              <a:defRPr sz="1360"/>
            </a:lvl8pPr>
            <a:lvl9pPr marL="3108960" indent="0" algn="ctr">
              <a:buNone/>
              <a:defRPr sz="136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05" y="2507618"/>
            <a:ext cx="6703695" cy="4184014"/>
          </a:xfrm>
        </p:spPr>
        <p:txBody>
          <a:bodyPr anchor="b"/>
          <a:lstStyle>
            <a:lvl1pPr>
              <a:defRPr sz="5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0305" y="6731215"/>
            <a:ext cx="6703695" cy="2200274"/>
          </a:xfrm>
        </p:spPr>
        <p:txBody>
          <a:bodyPr/>
          <a:lstStyle>
            <a:lvl1pPr marL="0" indent="0">
              <a:buNone/>
              <a:defRPr sz="2040">
                <a:solidFill>
                  <a:schemeClr val="tx1"/>
                </a:solidFill>
              </a:defRPr>
            </a:lvl1pPr>
            <a:lvl2pPr marL="38862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2pPr>
            <a:lvl3pPr marL="777240" indent="0">
              <a:buNone/>
              <a:defRPr sz="1530">
                <a:solidFill>
                  <a:schemeClr val="tx1">
                    <a:tint val="75000"/>
                  </a:schemeClr>
                </a:solidFill>
              </a:defRPr>
            </a:lvl3pPr>
            <a:lvl4pPr marL="116586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4pPr>
            <a:lvl5pPr marL="155448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5pPr>
            <a:lvl6pPr marL="194310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6pPr>
            <a:lvl7pPr marL="233172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7pPr>
            <a:lvl8pPr marL="272034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8pPr>
            <a:lvl9pPr marL="310896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353" y="2677584"/>
            <a:ext cx="3303270" cy="63819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934778" y="2677584"/>
            <a:ext cx="3303270" cy="63819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8/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365" y="535519"/>
            <a:ext cx="6703695" cy="194415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5366" y="2465706"/>
            <a:ext cx="3288089" cy="1208404"/>
          </a:xfrm>
        </p:spPr>
        <p:txBody>
          <a:bodyPr anchor="b"/>
          <a:lstStyle>
            <a:lvl1pPr marL="0" indent="0">
              <a:buNone/>
              <a:defRPr sz="2040" b="1"/>
            </a:lvl1pPr>
            <a:lvl2pPr marL="388620" indent="0">
              <a:buNone/>
              <a:defRPr sz="1700" b="1"/>
            </a:lvl2pPr>
            <a:lvl3pPr marL="777240" indent="0">
              <a:buNone/>
              <a:defRPr sz="1530" b="1"/>
            </a:lvl3pPr>
            <a:lvl4pPr marL="1165860" indent="0">
              <a:buNone/>
              <a:defRPr sz="1360" b="1"/>
            </a:lvl4pPr>
            <a:lvl5pPr marL="1554480" indent="0">
              <a:buNone/>
              <a:defRPr sz="1360" b="1"/>
            </a:lvl5pPr>
            <a:lvl6pPr marL="1943100" indent="0">
              <a:buNone/>
              <a:defRPr sz="1360" b="1"/>
            </a:lvl6pPr>
            <a:lvl7pPr marL="2331720" indent="0">
              <a:buNone/>
              <a:defRPr sz="1360" b="1"/>
            </a:lvl7pPr>
            <a:lvl8pPr marL="2720340" indent="0">
              <a:buNone/>
              <a:defRPr sz="1360" b="1"/>
            </a:lvl8pPr>
            <a:lvl9pPr marL="3108960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5366" y="3674110"/>
            <a:ext cx="3288089" cy="5404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934778" y="2465706"/>
            <a:ext cx="3304282" cy="1208404"/>
          </a:xfrm>
        </p:spPr>
        <p:txBody>
          <a:bodyPr anchor="b"/>
          <a:lstStyle>
            <a:lvl1pPr marL="0" indent="0">
              <a:buNone/>
              <a:defRPr sz="2040" b="1"/>
            </a:lvl1pPr>
            <a:lvl2pPr marL="388620" indent="0">
              <a:buNone/>
              <a:defRPr sz="1700" b="1"/>
            </a:lvl2pPr>
            <a:lvl3pPr marL="777240" indent="0">
              <a:buNone/>
              <a:defRPr sz="1530" b="1"/>
            </a:lvl3pPr>
            <a:lvl4pPr marL="1165860" indent="0">
              <a:buNone/>
              <a:defRPr sz="1360" b="1"/>
            </a:lvl4pPr>
            <a:lvl5pPr marL="1554480" indent="0">
              <a:buNone/>
              <a:defRPr sz="1360" b="1"/>
            </a:lvl5pPr>
            <a:lvl6pPr marL="1943100" indent="0">
              <a:buNone/>
              <a:defRPr sz="1360" b="1"/>
            </a:lvl6pPr>
            <a:lvl7pPr marL="2331720" indent="0">
              <a:buNone/>
              <a:defRPr sz="1360" b="1"/>
            </a:lvl7pPr>
            <a:lvl8pPr marL="2720340" indent="0">
              <a:buNone/>
              <a:defRPr sz="1360" b="1"/>
            </a:lvl8pPr>
            <a:lvl9pPr marL="3108960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934778" y="3674110"/>
            <a:ext cx="3304282" cy="5404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8/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less Textp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64653" y="2177686"/>
            <a:ext cx="6243088" cy="6229929"/>
          </a:xfrm>
        </p:spPr>
        <p:txBody>
          <a:bodyPr/>
          <a:lstStyle>
            <a:lvl1pPr>
              <a:defRPr>
                <a:solidFill>
                  <a:srgbClr val="141519"/>
                </a:solidFill>
              </a:defRPr>
            </a:lvl1pPr>
            <a:lvl2pPr>
              <a:defRPr>
                <a:solidFill>
                  <a:srgbClr val="141519"/>
                </a:solidFill>
              </a:defRPr>
            </a:lvl2pPr>
            <a:lvl3pPr>
              <a:defRPr>
                <a:solidFill>
                  <a:srgbClr val="141519"/>
                </a:solidFill>
              </a:defRPr>
            </a:lvl3pPr>
            <a:lvl4pPr>
              <a:defRPr>
                <a:solidFill>
                  <a:srgbClr val="141519"/>
                </a:solidFill>
              </a:defRPr>
            </a:lvl4pPr>
            <a:lvl5pPr>
              <a:defRPr>
                <a:solidFill>
                  <a:srgbClr val="141519"/>
                </a:solidFill>
              </a:defRPr>
            </a:lvl5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765096" y="1250318"/>
            <a:ext cx="6242209" cy="535517"/>
          </a:xfrm>
        </p:spPr>
        <p:txBody>
          <a:bodyPr lIns="0" anchor="t">
            <a:noAutofit/>
          </a:bodyPr>
          <a:lstStyle>
            <a:lvl1pPr marL="0" indent="0">
              <a:buNone/>
              <a:defRPr sz="1530" cap="all" baseline="0"/>
            </a:lvl1pPr>
            <a:lvl2pPr marL="388620" indent="0">
              <a:buNone/>
              <a:defRPr sz="1020"/>
            </a:lvl2pPr>
            <a:lvl3pPr marL="777240" indent="0">
              <a:buNone/>
              <a:defRPr sz="1020"/>
            </a:lvl3pPr>
            <a:lvl4pPr marL="1165860" indent="0">
              <a:buNone/>
              <a:defRPr sz="1020"/>
            </a:lvl4pPr>
            <a:lvl5pPr marL="1554480" indent="0">
              <a:buNone/>
              <a:defRPr sz="1020"/>
            </a:lvl5pPr>
          </a:lstStyle>
          <a:p>
            <a:pPr lvl="0"/>
            <a:r>
              <a:rPr lang="en-CA" dirty="0"/>
              <a:t>subtit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9"/>
          </p:nvPr>
        </p:nvSpPr>
        <p:spPr>
          <a:xfrm>
            <a:off x="3740305" y="9077069"/>
            <a:ext cx="291791" cy="672775"/>
          </a:xfrm>
          <a:prstGeom prst="ellipse">
            <a:avLst/>
          </a:prstGeom>
        </p:spPr>
        <p:txBody>
          <a:bodyPr/>
          <a:lstStyle/>
          <a:p>
            <a:fld id="{8F1F0939-D539-E94B-B542-BAA6CF05597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 dirty="0" err="1"/>
              <a:t>Pictureless</a:t>
            </a:r>
            <a:r>
              <a:rPr lang="en-CA" dirty="0"/>
              <a:t> </a:t>
            </a:r>
            <a:r>
              <a:rPr lang="en-CA" dirty="0" err="1"/>
              <a:t>textp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391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8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8/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365" y="670560"/>
            <a:ext cx="2506801" cy="2346960"/>
          </a:xfrm>
        </p:spPr>
        <p:txBody>
          <a:bodyPr anchor="b"/>
          <a:lstStyle>
            <a:lvl1pPr>
              <a:defRPr sz="272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04282" y="1448226"/>
            <a:ext cx="3934778" cy="7147983"/>
          </a:xfrm>
        </p:spPr>
        <p:txBody>
          <a:bodyPr/>
          <a:lstStyle>
            <a:lvl1pPr>
              <a:defRPr sz="2720"/>
            </a:lvl1pPr>
            <a:lvl2pPr>
              <a:defRPr sz="2380"/>
            </a:lvl2pPr>
            <a:lvl3pPr>
              <a:defRPr sz="204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5365" y="3017520"/>
            <a:ext cx="2506801" cy="5590329"/>
          </a:xfrm>
        </p:spPr>
        <p:txBody>
          <a:bodyPr/>
          <a:lstStyle>
            <a:lvl1pPr marL="0" indent="0">
              <a:buNone/>
              <a:defRPr sz="1360"/>
            </a:lvl1pPr>
            <a:lvl2pPr marL="388620" indent="0">
              <a:buNone/>
              <a:defRPr sz="1190"/>
            </a:lvl2pPr>
            <a:lvl3pPr marL="777240" indent="0">
              <a:buNone/>
              <a:defRPr sz="1020"/>
            </a:lvl3pPr>
            <a:lvl4pPr marL="1165860" indent="0">
              <a:buNone/>
              <a:defRPr sz="850"/>
            </a:lvl4pPr>
            <a:lvl5pPr marL="1554480" indent="0">
              <a:buNone/>
              <a:defRPr sz="850"/>
            </a:lvl5pPr>
            <a:lvl6pPr marL="1943100" indent="0">
              <a:buNone/>
              <a:defRPr sz="850"/>
            </a:lvl6pPr>
            <a:lvl7pPr marL="2331720" indent="0">
              <a:buNone/>
              <a:defRPr sz="850"/>
            </a:lvl7pPr>
            <a:lvl8pPr marL="2720340" indent="0">
              <a:buNone/>
              <a:defRPr sz="850"/>
            </a:lvl8pPr>
            <a:lvl9pPr marL="3108960" indent="0">
              <a:buNone/>
              <a:defRPr sz="8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8/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365" y="670560"/>
            <a:ext cx="2506801" cy="2346960"/>
          </a:xfrm>
        </p:spPr>
        <p:txBody>
          <a:bodyPr anchor="b"/>
          <a:lstStyle>
            <a:lvl1pPr>
              <a:defRPr sz="272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304282" y="1448226"/>
            <a:ext cx="3934778" cy="7147983"/>
          </a:xfrm>
        </p:spPr>
        <p:txBody>
          <a:bodyPr anchor="t"/>
          <a:lstStyle>
            <a:lvl1pPr marL="0" indent="0">
              <a:buNone/>
              <a:defRPr sz="2720"/>
            </a:lvl1pPr>
            <a:lvl2pPr marL="388620" indent="0">
              <a:buNone/>
              <a:defRPr sz="2380"/>
            </a:lvl2pPr>
            <a:lvl3pPr marL="777240" indent="0">
              <a:buNone/>
              <a:defRPr sz="2040"/>
            </a:lvl3pPr>
            <a:lvl4pPr marL="1165860" indent="0">
              <a:buNone/>
              <a:defRPr sz="1700"/>
            </a:lvl4pPr>
            <a:lvl5pPr marL="1554480" indent="0">
              <a:buNone/>
              <a:defRPr sz="1700"/>
            </a:lvl5pPr>
            <a:lvl6pPr marL="1943100" indent="0">
              <a:buNone/>
              <a:defRPr sz="1700"/>
            </a:lvl6pPr>
            <a:lvl7pPr marL="2331720" indent="0">
              <a:buNone/>
              <a:defRPr sz="1700"/>
            </a:lvl7pPr>
            <a:lvl8pPr marL="2720340" indent="0">
              <a:buNone/>
              <a:defRPr sz="1700"/>
            </a:lvl8pPr>
            <a:lvl9pPr marL="3108960" indent="0">
              <a:buNone/>
              <a:defRPr sz="1700"/>
            </a:lvl9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5365" y="3017520"/>
            <a:ext cx="2506801" cy="5590329"/>
          </a:xfrm>
        </p:spPr>
        <p:txBody>
          <a:bodyPr/>
          <a:lstStyle>
            <a:lvl1pPr marL="0" indent="0">
              <a:buNone/>
              <a:defRPr sz="1360"/>
            </a:lvl1pPr>
            <a:lvl2pPr marL="388620" indent="0">
              <a:buNone/>
              <a:defRPr sz="1190"/>
            </a:lvl2pPr>
            <a:lvl3pPr marL="777240" indent="0">
              <a:buNone/>
              <a:defRPr sz="1020"/>
            </a:lvl3pPr>
            <a:lvl4pPr marL="1165860" indent="0">
              <a:buNone/>
              <a:defRPr sz="850"/>
            </a:lvl4pPr>
            <a:lvl5pPr marL="1554480" indent="0">
              <a:buNone/>
              <a:defRPr sz="850"/>
            </a:lvl5pPr>
            <a:lvl6pPr marL="1943100" indent="0">
              <a:buNone/>
              <a:defRPr sz="850"/>
            </a:lvl6pPr>
            <a:lvl7pPr marL="2331720" indent="0">
              <a:buNone/>
              <a:defRPr sz="850"/>
            </a:lvl7pPr>
            <a:lvl8pPr marL="2720340" indent="0">
              <a:buNone/>
              <a:defRPr sz="850"/>
            </a:lvl8pPr>
            <a:lvl9pPr marL="3108960" indent="0">
              <a:buNone/>
              <a:defRPr sz="8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8/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562124" y="535517"/>
            <a:ext cx="1675924" cy="852402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4353" y="535517"/>
            <a:ext cx="4930616" cy="852402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Heading,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64659" y="2177682"/>
            <a:ext cx="6243088" cy="6240960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68918683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ine heading,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767796" y="1176585"/>
            <a:ext cx="6239510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765096" y="2168771"/>
            <a:ext cx="6242645" cy="62299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765532" y="1635919"/>
            <a:ext cx="6242209" cy="532840"/>
          </a:xfrm>
        </p:spPr>
        <p:txBody>
          <a:bodyPr anchor="t">
            <a:noAutofit/>
          </a:bodyPr>
          <a:lstStyle>
            <a:lvl1pPr marL="0" indent="0">
              <a:buNone/>
              <a:defRPr sz="1247" b="1" i="0" cap="all" baseline="0">
                <a:solidFill>
                  <a:srgbClr val="00203F"/>
                </a:solidFill>
                <a:latin typeface="+mn-lt"/>
                <a:ea typeface="Bull" charset="0"/>
                <a:cs typeface="Bull" charset="0"/>
              </a:defRPr>
            </a:lvl1pPr>
            <a:lvl2pPr marL="388551" indent="0">
              <a:buNone/>
              <a:defRPr sz="1020"/>
            </a:lvl2pPr>
            <a:lvl3pPr marL="777105" indent="0">
              <a:buNone/>
              <a:defRPr sz="1020"/>
            </a:lvl3pPr>
            <a:lvl4pPr marL="1165658" indent="0">
              <a:buNone/>
              <a:defRPr sz="1020"/>
            </a:lvl4pPr>
            <a:lvl5pPr marL="1554210" indent="0">
              <a:buNone/>
              <a:defRPr sz="1020"/>
            </a:lvl5pPr>
          </a:lstStyle>
          <a:p>
            <a:pPr lvl="0"/>
            <a:endParaRPr lang="en-US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ine Heading,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64659" y="2177682"/>
            <a:ext cx="6243088" cy="6240960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er, 2 bullet,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767796" y="1176585"/>
            <a:ext cx="6239510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64659" y="246747"/>
            <a:ext cx="6243088" cy="84214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22"/>
          </p:nvPr>
        </p:nvSpPr>
        <p:spPr>
          <a:xfrm>
            <a:off x="765532" y="3091608"/>
            <a:ext cx="6242209" cy="53171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765532" y="2558751"/>
            <a:ext cx="6242209" cy="532840"/>
          </a:xfrm>
        </p:spPr>
        <p:txBody>
          <a:bodyPr anchor="t">
            <a:noAutofit/>
          </a:bodyPr>
          <a:lstStyle>
            <a:lvl1pPr marL="0" indent="0">
              <a:buNone/>
              <a:defRPr sz="1247" b="1" i="0" cap="all" baseline="0">
                <a:solidFill>
                  <a:srgbClr val="00203F"/>
                </a:solidFill>
                <a:latin typeface="Bull" charset="0"/>
                <a:ea typeface="Bull" charset="0"/>
                <a:cs typeface="Bull" charset="0"/>
              </a:defRPr>
            </a:lvl1pPr>
            <a:lvl2pPr marL="388551" indent="0">
              <a:buNone/>
              <a:defRPr sz="1020"/>
            </a:lvl2pPr>
            <a:lvl3pPr marL="777105" indent="0">
              <a:buNone/>
              <a:defRPr sz="1020"/>
            </a:lvl3pPr>
            <a:lvl4pPr marL="1165658" indent="0">
              <a:buNone/>
              <a:defRPr sz="1020"/>
            </a:lvl4pPr>
            <a:lvl5pPr marL="1554210" indent="0">
              <a:buNone/>
              <a:defRPr sz="102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765096" y="1331805"/>
            <a:ext cx="6242209" cy="952289"/>
          </a:xfrm>
        </p:spPr>
        <p:txBody>
          <a:bodyPr/>
          <a:lstStyle>
            <a:lvl1pPr>
              <a:spcBef>
                <a:spcPts val="0"/>
              </a:spcBef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ine Heading, 2 bullet,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767796" y="1176585"/>
            <a:ext cx="6239510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64659" y="2811366"/>
            <a:ext cx="6243088" cy="5607288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765096" y="1331805"/>
            <a:ext cx="6242209" cy="952289"/>
          </a:xfrm>
        </p:spPr>
        <p:txBody>
          <a:bodyPr/>
          <a:lstStyle>
            <a:lvl1pPr>
              <a:spcBef>
                <a:spcPts val="0"/>
              </a:spcBef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121983" y="9387840"/>
            <a:ext cx="2707959" cy="67056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8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29" Type="http://schemas.openxmlformats.org/officeDocument/2006/relationships/slideLayout" Target="../slideLayouts/slideLayout4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30" Type="http://schemas.openxmlformats.org/officeDocument/2006/relationships/slideLayout" Target="../slideLayouts/slideLayout44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2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4659" y="246747"/>
            <a:ext cx="6243088" cy="842144"/>
          </a:xfrm>
          <a:prstGeom prst="rect">
            <a:avLst/>
          </a:prstGeom>
        </p:spPr>
        <p:txBody>
          <a:bodyPr vert="horz" lIns="0" tIns="34289" rIns="68571" bIns="0" rtlCol="0" anchor="b">
            <a:noAutofit/>
          </a:bodyPr>
          <a:lstStyle/>
          <a:p>
            <a:pPr marL="0" lvl="0" indent="0">
              <a:lnSpc>
                <a:spcPct val="100000"/>
              </a:lnSpc>
              <a:buFont typeface="Arial" charset="0"/>
            </a:pPr>
            <a:r>
              <a:rPr lang="en-CA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4659" y="2210588"/>
            <a:ext cx="6243088" cy="6189040"/>
          </a:xfrm>
          <a:prstGeom prst="rect">
            <a:avLst/>
          </a:prstGeom>
        </p:spPr>
        <p:txBody>
          <a:bodyPr vert="horz" lIns="0" tIns="34289" rIns="68571" bIns="34289" rtlCol="0">
            <a:normAutofit/>
          </a:bodyPr>
          <a:lstStyle/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-151317" y="-344175"/>
            <a:ext cx="8085642" cy="10781527"/>
            <a:chOff x="-237360" y="-234665"/>
            <a:chExt cx="10396982" cy="7351041"/>
          </a:xfrm>
        </p:grpSpPr>
        <p:grpSp>
          <p:nvGrpSpPr>
            <p:cNvPr id="33" name="Group 32"/>
            <p:cNvGrpSpPr/>
            <p:nvPr userDrawn="1"/>
          </p:nvGrpSpPr>
          <p:grpSpPr>
            <a:xfrm>
              <a:off x="940447" y="-234665"/>
              <a:ext cx="8025208" cy="186573"/>
              <a:chOff x="940447" y="-308307"/>
              <a:chExt cx="8025208" cy="7436076"/>
            </a:xfrm>
          </p:grpSpPr>
          <p:cxnSp>
            <p:nvCxnSpPr>
              <p:cNvPr id="47" name="Straight Connector 46"/>
              <p:cNvCxnSpPr/>
              <p:nvPr userDrawn="1"/>
            </p:nvCxnSpPr>
            <p:spPr>
              <a:xfrm>
                <a:off x="940447" y="-308307"/>
                <a:ext cx="0" cy="7436076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 userDrawn="1"/>
            </p:nvCxnSpPr>
            <p:spPr>
              <a:xfrm>
                <a:off x="8965655" y="-308307"/>
                <a:ext cx="0" cy="7436076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>
              <a:off x="-237360" y="364803"/>
              <a:ext cx="189246" cy="5362215"/>
              <a:chOff x="-276806" y="364803"/>
              <a:chExt cx="10477961" cy="5362215"/>
            </a:xfrm>
          </p:grpSpPr>
          <p:cxnSp>
            <p:nvCxnSpPr>
              <p:cNvPr id="43" name="Straight Connector 42"/>
              <p:cNvCxnSpPr/>
              <p:nvPr userDrawn="1"/>
            </p:nvCxnSpPr>
            <p:spPr>
              <a:xfrm>
                <a:off x="-276806" y="364803"/>
                <a:ext cx="1047793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/>
              <p:cNvCxnSpPr/>
              <p:nvPr userDrawn="1"/>
            </p:nvCxnSpPr>
            <p:spPr>
              <a:xfrm>
                <a:off x="-276806" y="5727018"/>
                <a:ext cx="10477961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/>
              <p:nvPr userDrawn="1"/>
            </p:nvCxnSpPr>
            <p:spPr>
              <a:xfrm>
                <a:off x="-276806" y="939314"/>
                <a:ext cx="1047793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/>
              <p:nvPr userDrawn="1"/>
            </p:nvCxnSpPr>
            <p:spPr>
              <a:xfrm>
                <a:off x="-276806" y="1507218"/>
                <a:ext cx="10477961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34"/>
            <p:cNvGrpSpPr/>
            <p:nvPr userDrawn="1"/>
          </p:nvGrpSpPr>
          <p:grpSpPr>
            <a:xfrm>
              <a:off x="940447" y="6929803"/>
              <a:ext cx="8025208" cy="186573"/>
              <a:chOff x="940447" y="-308307"/>
              <a:chExt cx="8025208" cy="7436076"/>
            </a:xfrm>
          </p:grpSpPr>
          <p:cxnSp>
            <p:nvCxnSpPr>
              <p:cNvPr id="41" name="Straight Connector 40"/>
              <p:cNvCxnSpPr/>
              <p:nvPr userDrawn="1"/>
            </p:nvCxnSpPr>
            <p:spPr>
              <a:xfrm>
                <a:off x="940447" y="-308307"/>
                <a:ext cx="0" cy="7436076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/>
              <p:cNvCxnSpPr/>
              <p:nvPr userDrawn="1"/>
            </p:nvCxnSpPr>
            <p:spPr>
              <a:xfrm>
                <a:off x="8965655" y="-308307"/>
                <a:ext cx="0" cy="7436076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 userDrawn="1"/>
          </p:nvGrpSpPr>
          <p:grpSpPr>
            <a:xfrm>
              <a:off x="9970375" y="364803"/>
              <a:ext cx="189247" cy="5362215"/>
              <a:chOff x="-276871" y="364803"/>
              <a:chExt cx="10477995" cy="5362215"/>
            </a:xfrm>
          </p:grpSpPr>
          <p:cxnSp>
            <p:nvCxnSpPr>
              <p:cNvPr id="37" name="Straight Connector 36"/>
              <p:cNvCxnSpPr/>
              <p:nvPr userDrawn="1"/>
            </p:nvCxnSpPr>
            <p:spPr>
              <a:xfrm>
                <a:off x="-276826" y="364803"/>
                <a:ext cx="1047795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 userDrawn="1"/>
            </p:nvCxnSpPr>
            <p:spPr>
              <a:xfrm>
                <a:off x="-276871" y="5727018"/>
                <a:ext cx="10477967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 userDrawn="1"/>
            </p:nvCxnSpPr>
            <p:spPr>
              <a:xfrm>
                <a:off x="-276806" y="939314"/>
                <a:ext cx="1047793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/>
              <p:cNvCxnSpPr/>
              <p:nvPr userDrawn="1"/>
            </p:nvCxnSpPr>
            <p:spPr>
              <a:xfrm>
                <a:off x="-276826" y="1510393"/>
                <a:ext cx="1047795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22" name="Straight Connector 21"/>
          <p:cNvCxnSpPr/>
          <p:nvPr userDrawn="1"/>
        </p:nvCxnSpPr>
        <p:spPr>
          <a:xfrm>
            <a:off x="767337" y="1176026"/>
            <a:ext cx="6239969" cy="0"/>
          </a:xfrm>
          <a:prstGeom prst="line">
            <a:avLst/>
          </a:prstGeom>
          <a:ln w="19050">
            <a:solidFill>
              <a:srgbClr val="0020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0786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6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777105" rtl="0" eaLnBrk="1" latinLnBrk="0" hangingPunct="1">
        <a:lnSpc>
          <a:spcPct val="90000"/>
        </a:lnSpc>
        <a:spcBef>
          <a:spcPct val="0"/>
        </a:spcBef>
        <a:buNone/>
        <a:defRPr lang="en-US" sz="1587" b="0" i="0" kern="500" cap="all" spc="-43" baseline="0" dirty="0">
          <a:solidFill>
            <a:schemeClr val="accent5"/>
          </a:solidFill>
          <a:latin typeface="Bull Heavy 1" charset="0"/>
          <a:ea typeface="Bull Heavy 1" charset="0"/>
          <a:cs typeface="Bull Heavy 1" charset="0"/>
        </a:defRPr>
      </a:lvl1pPr>
    </p:titleStyle>
    <p:bodyStyle>
      <a:lvl1pPr marL="194278" indent="-194278" algn="l" defTabSz="777105" rtl="0" eaLnBrk="1" latinLnBrk="0" hangingPunct="1">
        <a:lnSpc>
          <a:spcPct val="100000"/>
        </a:lnSpc>
        <a:spcBef>
          <a:spcPts val="1700"/>
        </a:spcBef>
        <a:buFont typeface="Arial"/>
        <a:buChar char="•"/>
        <a:defRPr sz="1587" b="0" i="0" kern="500" spc="-43" baseline="0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1pPr>
      <a:lvl2pPr marL="582833" indent="-194278" algn="l" defTabSz="777105" rtl="0" eaLnBrk="1" latinLnBrk="0" hangingPunct="1">
        <a:lnSpc>
          <a:spcPct val="100000"/>
        </a:lnSpc>
        <a:spcBef>
          <a:spcPts val="255"/>
        </a:spcBef>
        <a:buFont typeface="Arial"/>
        <a:buChar char="•"/>
        <a:defRPr sz="1360" b="0" i="0" kern="500" spc="-43" baseline="0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2pPr>
      <a:lvl3pPr marL="971382" indent="-194278" algn="l" defTabSz="777105" rtl="0" eaLnBrk="1" latinLnBrk="0" hangingPunct="1">
        <a:lnSpc>
          <a:spcPct val="100000"/>
        </a:lnSpc>
        <a:spcBef>
          <a:spcPts val="255"/>
        </a:spcBef>
        <a:buFont typeface="Arial"/>
        <a:buChar char="•"/>
        <a:defRPr sz="1247" b="0" i="0" kern="500" spc="-43" baseline="0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3pPr>
      <a:lvl4pPr marL="1359932" indent="-194278" algn="l" defTabSz="777105" rtl="0" eaLnBrk="1" latinLnBrk="0" hangingPunct="1">
        <a:lnSpc>
          <a:spcPct val="100000"/>
        </a:lnSpc>
        <a:spcBef>
          <a:spcPts val="255"/>
        </a:spcBef>
        <a:buFont typeface="Arial"/>
        <a:buChar char="•"/>
        <a:defRPr sz="1020" b="0" i="0" kern="500" spc="-43" baseline="0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4pPr>
      <a:lvl5pPr marL="1748483" indent="-194278" algn="l" defTabSz="777105" rtl="0" eaLnBrk="1" latinLnBrk="0" hangingPunct="1">
        <a:lnSpc>
          <a:spcPct val="100000"/>
        </a:lnSpc>
        <a:spcBef>
          <a:spcPts val="255"/>
        </a:spcBef>
        <a:buFont typeface="Arial"/>
        <a:buChar char="•"/>
        <a:defRPr sz="1020" b="0" i="0" kern="500" spc="-43" baseline="0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5pPr>
      <a:lvl6pPr marL="2137037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525590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914142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302697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1pPr>
      <a:lvl2pPr marL="388551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2pPr>
      <a:lvl3pPr marL="777105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3pPr>
      <a:lvl4pPr marL="1165658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4pPr>
      <a:lvl5pPr marL="1554210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5pPr>
      <a:lvl6pPr marL="1942765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331314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719864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108415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5096" y="245254"/>
            <a:ext cx="6242209" cy="844408"/>
          </a:xfrm>
          <a:prstGeom prst="rect">
            <a:avLst/>
          </a:prstGeom>
        </p:spPr>
        <p:txBody>
          <a:bodyPr vert="horz" lIns="0" tIns="34289" rIns="68571" bIns="0" rtlCol="0" anchor="b">
            <a:noAutofit/>
          </a:bodyPr>
          <a:lstStyle/>
          <a:p>
            <a:pPr lvl="0"/>
            <a:r>
              <a:rPr lang="en-CA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5096" y="2210368"/>
            <a:ext cx="6242209" cy="6190262"/>
          </a:xfrm>
          <a:prstGeom prst="rect">
            <a:avLst/>
          </a:prstGeom>
        </p:spPr>
        <p:txBody>
          <a:bodyPr vert="horz" lIns="0" tIns="34289" rIns="68571" bIns="34289" rtlCol="0">
            <a:normAutofit/>
          </a:bodyPr>
          <a:lstStyle/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grpSp>
        <p:nvGrpSpPr>
          <p:cNvPr id="10244" name="Group 31"/>
          <p:cNvGrpSpPr>
            <a:grpSpLocks/>
          </p:cNvGrpSpPr>
          <p:nvPr userDrawn="1"/>
        </p:nvGrpSpPr>
        <p:grpSpPr bwMode="auto">
          <a:xfrm>
            <a:off x="-151130" y="-344595"/>
            <a:ext cx="8085455" cy="10781737"/>
            <a:chOff x="-237360" y="-234665"/>
            <a:chExt cx="10396982" cy="7351041"/>
          </a:xfrm>
        </p:grpSpPr>
        <p:grpSp>
          <p:nvGrpSpPr>
            <p:cNvPr id="10246" name="Group 32"/>
            <p:cNvGrpSpPr>
              <a:grpSpLocks/>
            </p:cNvGrpSpPr>
            <p:nvPr userDrawn="1"/>
          </p:nvGrpSpPr>
          <p:grpSpPr bwMode="auto">
            <a:xfrm>
              <a:off x="940447" y="-234665"/>
              <a:ext cx="8025208" cy="186573"/>
              <a:chOff x="940447" y="-308307"/>
              <a:chExt cx="8025208" cy="7436076"/>
            </a:xfrm>
          </p:grpSpPr>
          <p:cxnSp>
            <p:nvCxnSpPr>
              <p:cNvPr id="47" name="Straight Connector 46"/>
              <p:cNvCxnSpPr/>
              <p:nvPr userDrawn="1"/>
            </p:nvCxnSpPr>
            <p:spPr>
              <a:xfrm>
                <a:off x="940803" y="-308307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 userDrawn="1"/>
            </p:nvCxnSpPr>
            <p:spPr>
              <a:xfrm>
                <a:off x="8965843" y="-308307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47" name="Group 33"/>
            <p:cNvGrpSpPr>
              <a:grpSpLocks/>
            </p:cNvGrpSpPr>
            <p:nvPr userDrawn="1"/>
          </p:nvGrpSpPr>
          <p:grpSpPr bwMode="auto">
            <a:xfrm>
              <a:off x="-237360" y="364803"/>
              <a:ext cx="189246" cy="5362215"/>
              <a:chOff x="-276806" y="364803"/>
              <a:chExt cx="10477961" cy="5362215"/>
            </a:xfrm>
          </p:grpSpPr>
          <p:cxnSp>
            <p:nvCxnSpPr>
              <p:cNvPr id="43" name="Straight Connector 42"/>
              <p:cNvCxnSpPr/>
              <p:nvPr userDrawn="1"/>
            </p:nvCxnSpPr>
            <p:spPr>
              <a:xfrm>
                <a:off x="-276806" y="364340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/>
              <p:cNvCxnSpPr/>
              <p:nvPr userDrawn="1"/>
            </p:nvCxnSpPr>
            <p:spPr>
              <a:xfrm>
                <a:off x="-276806" y="5727870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/>
              <p:nvPr userDrawn="1"/>
            </p:nvCxnSpPr>
            <p:spPr>
              <a:xfrm>
                <a:off x="-276806" y="937947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/>
              <p:nvPr userDrawn="1"/>
            </p:nvCxnSpPr>
            <p:spPr>
              <a:xfrm>
                <a:off x="-276806" y="1507318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48" name="Group 34"/>
            <p:cNvGrpSpPr>
              <a:grpSpLocks/>
            </p:cNvGrpSpPr>
            <p:nvPr userDrawn="1"/>
          </p:nvGrpSpPr>
          <p:grpSpPr bwMode="auto">
            <a:xfrm>
              <a:off x="940447" y="6929803"/>
              <a:ext cx="8025208" cy="186573"/>
              <a:chOff x="940447" y="-308307"/>
              <a:chExt cx="8025208" cy="7436076"/>
            </a:xfrm>
          </p:grpSpPr>
          <p:cxnSp>
            <p:nvCxnSpPr>
              <p:cNvPr id="41" name="Straight Connector 40"/>
              <p:cNvCxnSpPr/>
              <p:nvPr userDrawn="1"/>
            </p:nvCxnSpPr>
            <p:spPr>
              <a:xfrm>
                <a:off x="940803" y="-295978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/>
              <p:cNvCxnSpPr/>
              <p:nvPr userDrawn="1"/>
            </p:nvCxnSpPr>
            <p:spPr>
              <a:xfrm>
                <a:off x="8965843" y="-295978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49" name="Group 35"/>
            <p:cNvGrpSpPr>
              <a:grpSpLocks/>
            </p:cNvGrpSpPr>
            <p:nvPr userDrawn="1"/>
          </p:nvGrpSpPr>
          <p:grpSpPr bwMode="auto">
            <a:xfrm>
              <a:off x="9970375" y="364803"/>
              <a:ext cx="189247" cy="5362215"/>
              <a:chOff x="-276871" y="364803"/>
              <a:chExt cx="10477995" cy="5362215"/>
            </a:xfrm>
          </p:grpSpPr>
          <p:cxnSp>
            <p:nvCxnSpPr>
              <p:cNvPr id="37" name="Straight Connector 36"/>
              <p:cNvCxnSpPr/>
              <p:nvPr userDrawn="1"/>
            </p:nvCxnSpPr>
            <p:spPr>
              <a:xfrm>
                <a:off x="-270396" y="364340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 userDrawn="1"/>
            </p:nvCxnSpPr>
            <p:spPr>
              <a:xfrm>
                <a:off x="-270396" y="5727870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 userDrawn="1"/>
            </p:nvCxnSpPr>
            <p:spPr>
              <a:xfrm>
                <a:off x="-270396" y="937947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/>
              <p:cNvCxnSpPr/>
              <p:nvPr userDrawn="1"/>
            </p:nvCxnSpPr>
            <p:spPr>
              <a:xfrm>
                <a:off x="-270396" y="1509436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127673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</p:sldLayoutIdLst>
  <p:transition spd="med">
    <p:fade/>
  </p:transition>
  <p:hf hdr="0" dt="0"/>
  <p:txStyles>
    <p:titleStyle>
      <a:lvl1pPr algn="l" defTabSz="7754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1587" kern="500" cap="all" spc="-43" dirty="0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1pPr>
      <a:lvl2pPr algn="l" defTabSz="7754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2pPr>
      <a:lvl3pPr algn="l" defTabSz="7754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3pPr>
      <a:lvl4pPr algn="l" defTabSz="7754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4pPr>
      <a:lvl5pPr algn="l" defTabSz="7754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5pPr>
      <a:lvl6pPr marL="518147" algn="l" defTabSz="775422" rtl="0" fontAlgn="base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6pPr>
      <a:lvl7pPr marL="1036295" algn="l" defTabSz="775422" rtl="0" fontAlgn="base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7pPr>
      <a:lvl8pPr marL="1554441" algn="l" defTabSz="775422" rtl="0" fontAlgn="base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8pPr>
      <a:lvl9pPr marL="2072588" algn="l" defTabSz="775422" rtl="0" fontAlgn="base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9pPr>
    </p:titleStyle>
    <p:bodyStyle>
      <a:lvl1pPr marL="192506" indent="-192506" algn="l" defTabSz="775422" rtl="0" eaLnBrk="0" fontAlgn="base" hangingPunct="0">
        <a:spcBef>
          <a:spcPts val="1700"/>
        </a:spcBef>
        <a:spcAft>
          <a:spcPct val="0"/>
        </a:spcAft>
        <a:buFont typeface="Arial" charset="0"/>
        <a:buChar char="•"/>
        <a:defRPr sz="1587" kern="500" spc="-43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1pPr>
      <a:lvl2pPr marL="581117" indent="-192506" algn="l" defTabSz="775422" rtl="0" eaLnBrk="0" fontAlgn="base" hangingPunct="0">
        <a:spcBef>
          <a:spcPts val="255"/>
        </a:spcBef>
        <a:spcAft>
          <a:spcPct val="0"/>
        </a:spcAft>
        <a:buFont typeface="Arial" charset="0"/>
        <a:buChar char="•"/>
        <a:defRPr sz="1360" kern="500" spc="-43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2pPr>
      <a:lvl3pPr marL="969727" indent="-192506" algn="l" defTabSz="775422" rtl="0" eaLnBrk="0" fontAlgn="base" hangingPunct="0">
        <a:spcBef>
          <a:spcPts val="255"/>
        </a:spcBef>
        <a:spcAft>
          <a:spcPct val="0"/>
        </a:spcAft>
        <a:buFont typeface="Arial" charset="0"/>
        <a:buChar char="•"/>
        <a:defRPr sz="1247" kern="500" spc="-43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3pPr>
      <a:lvl4pPr marL="1358337" indent="-192506" algn="l" defTabSz="775422" rtl="0" eaLnBrk="0" fontAlgn="base" hangingPunct="0">
        <a:spcBef>
          <a:spcPts val="255"/>
        </a:spcBef>
        <a:spcAft>
          <a:spcPct val="0"/>
        </a:spcAft>
        <a:buFont typeface="Arial" charset="0"/>
        <a:buChar char="•"/>
        <a:defRPr sz="1020" kern="500" spc="-43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4pPr>
      <a:lvl5pPr marL="1746948" indent="-192506" algn="l" defTabSz="775422" rtl="0" eaLnBrk="0" fontAlgn="base" hangingPunct="0">
        <a:spcBef>
          <a:spcPts val="255"/>
        </a:spcBef>
        <a:spcAft>
          <a:spcPct val="0"/>
        </a:spcAft>
        <a:buFont typeface="Arial" charset="0"/>
        <a:buChar char="•"/>
        <a:defRPr sz="1020" kern="500" spc="-43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5pPr>
      <a:lvl6pPr marL="2137037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525590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914142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302697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1pPr>
      <a:lvl2pPr marL="388551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2pPr>
      <a:lvl3pPr marL="777105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3pPr>
      <a:lvl4pPr marL="1165658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4pPr>
      <a:lvl5pPr marL="1554210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5pPr>
      <a:lvl6pPr marL="1942765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331314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719864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108415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5096" y="245254"/>
            <a:ext cx="6242209" cy="844408"/>
          </a:xfrm>
          <a:prstGeom prst="rect">
            <a:avLst/>
          </a:prstGeom>
        </p:spPr>
        <p:txBody>
          <a:bodyPr vert="horz" lIns="0" tIns="34289" rIns="68571" bIns="0" rtlCol="0" anchor="b">
            <a:noAutofit/>
          </a:bodyPr>
          <a:lstStyle/>
          <a:p>
            <a:pPr lvl="0"/>
            <a:r>
              <a:rPr lang="en-CA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5096" y="2210368"/>
            <a:ext cx="6242209" cy="6190262"/>
          </a:xfrm>
          <a:prstGeom prst="rect">
            <a:avLst/>
          </a:prstGeom>
        </p:spPr>
        <p:txBody>
          <a:bodyPr vert="horz" lIns="0" tIns="34289" rIns="68571" bIns="34289" rtlCol="0">
            <a:normAutofit/>
          </a:bodyPr>
          <a:lstStyle/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grpSp>
        <p:nvGrpSpPr>
          <p:cNvPr id="10244" name="Group 31"/>
          <p:cNvGrpSpPr>
            <a:grpSpLocks/>
          </p:cNvGrpSpPr>
          <p:nvPr userDrawn="1"/>
        </p:nvGrpSpPr>
        <p:grpSpPr bwMode="auto">
          <a:xfrm>
            <a:off x="-151130" y="-344595"/>
            <a:ext cx="8085455" cy="10781737"/>
            <a:chOff x="-237360" y="-234665"/>
            <a:chExt cx="10396982" cy="7351041"/>
          </a:xfrm>
        </p:grpSpPr>
        <p:grpSp>
          <p:nvGrpSpPr>
            <p:cNvPr id="10246" name="Group 32"/>
            <p:cNvGrpSpPr>
              <a:grpSpLocks/>
            </p:cNvGrpSpPr>
            <p:nvPr userDrawn="1"/>
          </p:nvGrpSpPr>
          <p:grpSpPr bwMode="auto">
            <a:xfrm>
              <a:off x="940447" y="-234665"/>
              <a:ext cx="8025208" cy="186573"/>
              <a:chOff x="940447" y="-308307"/>
              <a:chExt cx="8025208" cy="7436076"/>
            </a:xfrm>
          </p:grpSpPr>
          <p:cxnSp>
            <p:nvCxnSpPr>
              <p:cNvPr id="47" name="Straight Connector 46"/>
              <p:cNvCxnSpPr/>
              <p:nvPr userDrawn="1"/>
            </p:nvCxnSpPr>
            <p:spPr>
              <a:xfrm>
                <a:off x="940803" y="-308307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 userDrawn="1"/>
            </p:nvCxnSpPr>
            <p:spPr>
              <a:xfrm>
                <a:off x="8965843" y="-308307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47" name="Group 33"/>
            <p:cNvGrpSpPr>
              <a:grpSpLocks/>
            </p:cNvGrpSpPr>
            <p:nvPr userDrawn="1"/>
          </p:nvGrpSpPr>
          <p:grpSpPr bwMode="auto">
            <a:xfrm>
              <a:off x="-237360" y="364803"/>
              <a:ext cx="189246" cy="5362215"/>
              <a:chOff x="-276806" y="364803"/>
              <a:chExt cx="10477961" cy="5362215"/>
            </a:xfrm>
          </p:grpSpPr>
          <p:cxnSp>
            <p:nvCxnSpPr>
              <p:cNvPr id="43" name="Straight Connector 42"/>
              <p:cNvCxnSpPr/>
              <p:nvPr userDrawn="1"/>
            </p:nvCxnSpPr>
            <p:spPr>
              <a:xfrm>
                <a:off x="-276806" y="364340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/>
              <p:cNvCxnSpPr/>
              <p:nvPr userDrawn="1"/>
            </p:nvCxnSpPr>
            <p:spPr>
              <a:xfrm>
                <a:off x="-276806" y="5727870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/>
              <p:nvPr userDrawn="1"/>
            </p:nvCxnSpPr>
            <p:spPr>
              <a:xfrm>
                <a:off x="-276806" y="937947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/>
              <p:nvPr userDrawn="1"/>
            </p:nvCxnSpPr>
            <p:spPr>
              <a:xfrm>
                <a:off x="-276806" y="1507318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48" name="Group 34"/>
            <p:cNvGrpSpPr>
              <a:grpSpLocks/>
            </p:cNvGrpSpPr>
            <p:nvPr userDrawn="1"/>
          </p:nvGrpSpPr>
          <p:grpSpPr bwMode="auto">
            <a:xfrm>
              <a:off x="940447" y="6929803"/>
              <a:ext cx="8025208" cy="186573"/>
              <a:chOff x="940447" y="-308307"/>
              <a:chExt cx="8025208" cy="7436076"/>
            </a:xfrm>
          </p:grpSpPr>
          <p:cxnSp>
            <p:nvCxnSpPr>
              <p:cNvPr id="41" name="Straight Connector 40"/>
              <p:cNvCxnSpPr/>
              <p:nvPr userDrawn="1"/>
            </p:nvCxnSpPr>
            <p:spPr>
              <a:xfrm>
                <a:off x="940803" y="-295978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/>
              <p:cNvCxnSpPr/>
              <p:nvPr userDrawn="1"/>
            </p:nvCxnSpPr>
            <p:spPr>
              <a:xfrm>
                <a:off x="8965843" y="-295978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49" name="Group 35"/>
            <p:cNvGrpSpPr>
              <a:grpSpLocks/>
            </p:cNvGrpSpPr>
            <p:nvPr userDrawn="1"/>
          </p:nvGrpSpPr>
          <p:grpSpPr bwMode="auto">
            <a:xfrm>
              <a:off x="9970375" y="364803"/>
              <a:ext cx="189247" cy="5362215"/>
              <a:chOff x="-276871" y="364803"/>
              <a:chExt cx="10477995" cy="5362215"/>
            </a:xfrm>
          </p:grpSpPr>
          <p:cxnSp>
            <p:nvCxnSpPr>
              <p:cNvPr id="37" name="Straight Connector 36"/>
              <p:cNvCxnSpPr/>
              <p:nvPr userDrawn="1"/>
            </p:nvCxnSpPr>
            <p:spPr>
              <a:xfrm>
                <a:off x="-270396" y="364340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 userDrawn="1"/>
            </p:nvCxnSpPr>
            <p:spPr>
              <a:xfrm>
                <a:off x="-270396" y="5727870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 userDrawn="1"/>
            </p:nvCxnSpPr>
            <p:spPr>
              <a:xfrm>
                <a:off x="-270396" y="937947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/>
              <p:cNvCxnSpPr/>
              <p:nvPr userDrawn="1"/>
            </p:nvCxnSpPr>
            <p:spPr>
              <a:xfrm>
                <a:off x="-270396" y="1509436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043001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transition spd="med">
    <p:fade/>
  </p:transition>
  <p:hf hdr="0" dt="0"/>
  <p:txStyles>
    <p:titleStyle>
      <a:lvl1pPr algn="l" defTabSz="7754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1587" kern="500" cap="all" spc="-43" dirty="0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1pPr>
      <a:lvl2pPr algn="l" defTabSz="7754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2pPr>
      <a:lvl3pPr algn="l" defTabSz="7754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3pPr>
      <a:lvl4pPr algn="l" defTabSz="7754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4pPr>
      <a:lvl5pPr algn="l" defTabSz="7754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5pPr>
      <a:lvl6pPr marL="518147" algn="l" defTabSz="775422" rtl="0" fontAlgn="base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6pPr>
      <a:lvl7pPr marL="1036295" algn="l" defTabSz="775422" rtl="0" fontAlgn="base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7pPr>
      <a:lvl8pPr marL="1554441" algn="l" defTabSz="775422" rtl="0" fontAlgn="base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8pPr>
      <a:lvl9pPr marL="2072588" algn="l" defTabSz="775422" rtl="0" fontAlgn="base">
        <a:lnSpc>
          <a:spcPct val="90000"/>
        </a:lnSpc>
        <a:spcBef>
          <a:spcPct val="0"/>
        </a:spcBef>
        <a:spcAft>
          <a:spcPct val="0"/>
        </a:spcAft>
        <a:defRPr sz="1587">
          <a:solidFill>
            <a:srgbClr val="0A2E63"/>
          </a:solidFill>
          <a:latin typeface="Bull Heavy 1" charset="0"/>
          <a:ea typeface="Bull Heavy 1" charset="0"/>
          <a:cs typeface="Bull Heavy 1" charset="0"/>
        </a:defRPr>
      </a:lvl9pPr>
    </p:titleStyle>
    <p:bodyStyle>
      <a:lvl1pPr marL="192506" indent="-192506" algn="l" defTabSz="775422" rtl="0" eaLnBrk="0" fontAlgn="base" hangingPunct="0">
        <a:spcBef>
          <a:spcPts val="1700"/>
        </a:spcBef>
        <a:spcAft>
          <a:spcPct val="0"/>
        </a:spcAft>
        <a:buFont typeface="Arial" charset="0"/>
        <a:buChar char="•"/>
        <a:defRPr sz="1587" kern="500" spc="-43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1pPr>
      <a:lvl2pPr marL="581117" indent="-192506" algn="l" defTabSz="775422" rtl="0" eaLnBrk="0" fontAlgn="base" hangingPunct="0">
        <a:spcBef>
          <a:spcPts val="255"/>
        </a:spcBef>
        <a:spcAft>
          <a:spcPct val="0"/>
        </a:spcAft>
        <a:buFont typeface="Arial" charset="0"/>
        <a:buChar char="•"/>
        <a:defRPr sz="1360" kern="500" spc="-43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2pPr>
      <a:lvl3pPr marL="969727" indent="-192506" algn="l" defTabSz="775422" rtl="0" eaLnBrk="0" fontAlgn="base" hangingPunct="0">
        <a:spcBef>
          <a:spcPts val="255"/>
        </a:spcBef>
        <a:spcAft>
          <a:spcPct val="0"/>
        </a:spcAft>
        <a:buFont typeface="Arial" charset="0"/>
        <a:buChar char="•"/>
        <a:defRPr sz="1247" kern="500" spc="-43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3pPr>
      <a:lvl4pPr marL="1358337" indent="-192506" algn="l" defTabSz="775422" rtl="0" eaLnBrk="0" fontAlgn="base" hangingPunct="0">
        <a:spcBef>
          <a:spcPts val="255"/>
        </a:spcBef>
        <a:spcAft>
          <a:spcPct val="0"/>
        </a:spcAft>
        <a:buFont typeface="Arial" charset="0"/>
        <a:buChar char="•"/>
        <a:defRPr sz="1020" kern="500" spc="-43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4pPr>
      <a:lvl5pPr marL="1746948" indent="-192506" algn="l" defTabSz="775422" rtl="0" eaLnBrk="0" fontAlgn="base" hangingPunct="0">
        <a:spcBef>
          <a:spcPts val="255"/>
        </a:spcBef>
        <a:spcAft>
          <a:spcPct val="0"/>
        </a:spcAft>
        <a:buFont typeface="Arial" charset="0"/>
        <a:buChar char="•"/>
        <a:defRPr sz="1020" kern="500" spc="-43">
          <a:solidFill>
            <a:srgbClr val="00203F"/>
          </a:solidFill>
          <a:latin typeface="Bull Thin 2" charset="0"/>
          <a:ea typeface="Bull Thin 2" charset="0"/>
          <a:cs typeface="Bull Thin 2" charset="0"/>
        </a:defRPr>
      </a:lvl5pPr>
      <a:lvl6pPr marL="2137037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525590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914142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302697" indent="-194278" algn="l" defTabSz="777105" rtl="0" eaLnBrk="1" latinLnBrk="0" hangingPunct="1">
        <a:lnSpc>
          <a:spcPct val="90000"/>
        </a:lnSpc>
        <a:spcBef>
          <a:spcPts val="425"/>
        </a:spcBef>
        <a:buFont typeface="Arial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1pPr>
      <a:lvl2pPr marL="388551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2pPr>
      <a:lvl3pPr marL="777105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3pPr>
      <a:lvl4pPr marL="1165658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4pPr>
      <a:lvl5pPr marL="1554210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5pPr>
      <a:lvl6pPr marL="1942765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331314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719864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108415" algn="l" defTabSz="777105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/>
          </p:nvPr>
        </p:nvGraphicFramePr>
        <p:xfrm>
          <a:off x="1351" y="3107"/>
          <a:ext cx="1349" cy="31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" name="think-cell Slide" r:id="rId34" imgW="493" imgH="493" progId="TCLayout.ActiveDocument.1">
                  <p:embed/>
                </p:oleObj>
              </mc:Choice>
              <mc:Fallback>
                <p:oleObj name="think-cell Slide" r:id="rId3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351" y="3107"/>
                        <a:ext cx="1349" cy="31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48814" y="597603"/>
            <a:ext cx="7071400" cy="108034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48814" y="2910422"/>
            <a:ext cx="7071400" cy="64867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6718482" y="9620675"/>
            <a:ext cx="452715" cy="2374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80">
                <a:noFill/>
              </a:defRPr>
            </a:lvl1pPr>
            <a:lvl2pPr marL="0" indent="0">
              <a:defRPr sz="680">
                <a:noFill/>
              </a:defRPr>
            </a:lvl2pPr>
            <a:lvl3pPr marL="0" indent="0">
              <a:defRPr sz="680">
                <a:noFill/>
              </a:defRPr>
            </a:lvl3pPr>
            <a:lvl4pPr marL="0" indent="0">
              <a:defRPr sz="680">
                <a:noFill/>
              </a:defRPr>
            </a:lvl4pPr>
            <a:lvl5pPr marL="0" indent="0">
              <a:defRPr sz="680">
                <a:noFill/>
              </a:defRPr>
            </a:lvl5pPr>
            <a:lvl6pPr marL="0" indent="0">
              <a:defRPr sz="680">
                <a:noFill/>
              </a:defRPr>
            </a:lvl6pPr>
            <a:lvl7pPr marL="0" indent="0">
              <a:defRPr sz="680">
                <a:noFill/>
              </a:defRPr>
            </a:lvl7pPr>
            <a:lvl8pPr marL="0" indent="0">
              <a:defRPr sz="680">
                <a:noFill/>
              </a:defRPr>
            </a:lvl8pPr>
            <a:lvl9pPr marL="0" indent="0">
              <a:defRPr sz="680">
                <a:noFill/>
              </a:defRPr>
            </a:lvl9pPr>
          </a:lstStyle>
          <a:p>
            <a:fld id="{20104228-23D0-4AB6-B6E8-553574897F96}" type="datetimeFigureOut">
              <a:rPr lang="en-US" smtClean="0"/>
              <a:pPr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48814" y="9620675"/>
            <a:ext cx="6225341" cy="2374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8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defRPr sz="68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defRPr sz="68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defRPr sz="68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defRPr sz="680"/>
            </a:lvl5pPr>
            <a:lvl6pPr marL="0" indent="0">
              <a:defRPr sz="68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defRPr sz="68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defRPr sz="68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defRPr sz="68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7192305" y="9620675"/>
            <a:ext cx="227909" cy="2374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8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defRPr sz="680">
                <a:solidFill>
                  <a:schemeClr val="bg1">
                    <a:lumMod val="50000"/>
                  </a:schemeClr>
                </a:solidFill>
              </a:defRPr>
            </a:lvl2pPr>
            <a:lvl3pPr marL="0" indent="0" algn="r">
              <a:defRPr sz="680">
                <a:solidFill>
                  <a:schemeClr val="bg1">
                    <a:lumMod val="50000"/>
                  </a:schemeClr>
                </a:solidFill>
              </a:defRPr>
            </a:lvl3pPr>
            <a:lvl4pPr marL="0" indent="0" algn="r">
              <a:defRPr sz="680">
                <a:solidFill>
                  <a:schemeClr val="bg1">
                    <a:lumMod val="50000"/>
                  </a:schemeClr>
                </a:solidFill>
              </a:defRPr>
            </a:lvl4pPr>
            <a:lvl5pPr marL="0" indent="0" algn="r">
              <a:defRPr sz="680">
                <a:solidFill>
                  <a:schemeClr val="bg1">
                    <a:lumMod val="50000"/>
                  </a:schemeClr>
                </a:solidFill>
              </a:defRPr>
            </a:lvl5pPr>
            <a:lvl6pPr marL="0" indent="0" algn="r">
              <a:defRPr sz="680">
                <a:solidFill>
                  <a:schemeClr val="bg1">
                    <a:lumMod val="50000"/>
                  </a:schemeClr>
                </a:solidFill>
              </a:defRPr>
            </a:lvl6pPr>
            <a:lvl7pPr marL="0" indent="0" algn="r">
              <a:defRPr sz="680">
                <a:solidFill>
                  <a:schemeClr val="bg1">
                    <a:lumMod val="50000"/>
                  </a:schemeClr>
                </a:solidFill>
              </a:defRPr>
            </a:lvl7pPr>
            <a:lvl8pPr marL="0" indent="0" algn="r">
              <a:defRPr sz="680">
                <a:solidFill>
                  <a:schemeClr val="bg1">
                    <a:lumMod val="50000"/>
                  </a:schemeClr>
                </a:solidFill>
              </a:defRPr>
            </a:lvl8pPr>
            <a:lvl9pPr marL="0" indent="0" algn="r">
              <a:defRPr sz="68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fld id="{B707CCBA-EF1F-46A9-AD9D-E50130406374}" type="slidenum">
              <a:rPr lang="en-US" smtClean="0">
                <a:solidFill>
                  <a:srgbClr val="D8D8D8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8D8D8">
                  <a:lumMod val="50000"/>
                </a:srgbClr>
              </a:solidFill>
            </a:endParaRPr>
          </a:p>
        </p:txBody>
      </p:sp>
      <p:sp>
        <p:nvSpPr>
          <p:cNvPr id="7" name="Rechteck 13"/>
          <p:cNvSpPr/>
          <p:nvPr/>
        </p:nvSpPr>
        <p:spPr bwMode="gray">
          <a:xfrm>
            <a:off x="1" y="2201"/>
            <a:ext cx="7007794" cy="445591"/>
          </a:xfrm>
          <a:custGeom>
            <a:avLst/>
            <a:gdLst/>
            <a:ahLst/>
            <a:cxnLst/>
            <a:rect l="l" t="t" r="r" b="b"/>
            <a:pathLst>
              <a:path w="8244464" h="227859">
                <a:moveTo>
                  <a:pt x="0" y="0"/>
                </a:moveTo>
                <a:lnTo>
                  <a:pt x="180956" y="0"/>
                </a:lnTo>
                <a:lnTo>
                  <a:pt x="457200" y="0"/>
                </a:lnTo>
                <a:lnTo>
                  <a:pt x="8244464" y="0"/>
                </a:lnTo>
                <a:lnTo>
                  <a:pt x="8199932" y="227859"/>
                </a:lnTo>
                <a:lnTo>
                  <a:pt x="0" y="2278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3632" tIns="103632" rIns="103632" bIns="103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87" dirty="0" err="1">
              <a:solidFill>
                <a:srgbClr val="FFFFFF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 bwMode="gray">
          <a:xfrm>
            <a:off x="0" y="2278607"/>
            <a:ext cx="6807672" cy="0"/>
          </a:xfrm>
          <a:prstGeom prst="line">
            <a:avLst/>
          </a:prstGeom>
          <a:ln w="3175" cmpd="sng"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510"/>
          <a:stretch/>
        </p:blipFill>
        <p:spPr>
          <a:xfrm>
            <a:off x="7139532" y="50379"/>
            <a:ext cx="535500" cy="414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758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1" r:id="rId27"/>
    <p:sldLayoutId id="2147483732" r:id="rId28"/>
    <p:sldLayoutId id="2147483733" r:id="rId29"/>
    <p:sldLayoutId id="2147483734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1036295" rtl="0" eaLnBrk="1" latinLnBrk="0" hangingPunct="1">
        <a:lnSpc>
          <a:spcPct val="80000"/>
        </a:lnSpc>
        <a:spcBef>
          <a:spcPct val="0"/>
        </a:spcBef>
        <a:buNone/>
        <a:defRPr lang="en-US" sz="4080" b="0" i="0" kern="1200" cap="all" spc="-113" baseline="0" dirty="0">
          <a:solidFill>
            <a:schemeClr val="accent3"/>
          </a:solidFill>
          <a:latin typeface="Futura Com Bold Condensed"/>
          <a:ea typeface="+mj-ea"/>
          <a:cs typeface="+mj-cs"/>
        </a:defRPr>
      </a:lvl1pPr>
    </p:titleStyle>
    <p:bodyStyle>
      <a:lvl1pPr marL="0" indent="0" algn="l" defTabSz="1036295" rtl="0" eaLnBrk="1" latinLnBrk="0" hangingPunct="1">
        <a:spcBef>
          <a:spcPts val="0"/>
        </a:spcBef>
        <a:spcAft>
          <a:spcPts val="680"/>
        </a:spcAft>
        <a:buFont typeface="Arial" panose="020B0604020202020204" pitchFamily="34" charset="0"/>
        <a:buNone/>
        <a:defRPr sz="1587" kern="1200">
          <a:solidFill>
            <a:schemeClr val="tx1"/>
          </a:solidFill>
          <a:latin typeface="+mn-lt"/>
          <a:ea typeface="+mn-ea"/>
          <a:cs typeface="+mn-cs"/>
        </a:defRPr>
      </a:lvl1pPr>
      <a:lvl2pPr marL="203995" indent="-203995" algn="l" defTabSz="1036295" rtl="0" eaLnBrk="1" latinLnBrk="0" hangingPunct="1">
        <a:spcBef>
          <a:spcPts val="0"/>
        </a:spcBef>
        <a:spcAft>
          <a:spcPts val="680"/>
        </a:spcAft>
        <a:buClr>
          <a:schemeClr val="accent5"/>
        </a:buClr>
        <a:buFont typeface="Arial" panose="020B0604020202020204" pitchFamily="34" charset="0"/>
        <a:buChar char="•"/>
        <a:defRPr sz="1587" kern="1200">
          <a:solidFill>
            <a:schemeClr val="tx1"/>
          </a:solidFill>
          <a:latin typeface="+mn-lt"/>
          <a:ea typeface="+mn-ea"/>
          <a:cs typeface="+mn-cs"/>
        </a:defRPr>
      </a:lvl2pPr>
      <a:lvl3pPr marL="407990" indent="-203995" algn="l" defTabSz="1036295" rtl="0" eaLnBrk="1" latinLnBrk="0" hangingPunct="1">
        <a:spcBef>
          <a:spcPts val="0"/>
        </a:spcBef>
        <a:spcAft>
          <a:spcPts val="680"/>
        </a:spcAft>
        <a:buFont typeface="Futura Com Book" panose="02000504030000020003" pitchFamily="2" charset="0"/>
        <a:buChar char="–"/>
        <a:defRPr sz="1587" kern="1200">
          <a:solidFill>
            <a:schemeClr val="tx1"/>
          </a:solidFill>
          <a:latin typeface="+mn-lt"/>
          <a:ea typeface="+mn-ea"/>
          <a:cs typeface="+mn-cs"/>
        </a:defRPr>
      </a:lvl3pPr>
      <a:lvl4pPr marL="611985" indent="-203995" algn="l" defTabSz="1036295" rtl="0" eaLnBrk="1" latinLnBrk="0" hangingPunct="1">
        <a:spcBef>
          <a:spcPts val="0"/>
        </a:spcBef>
        <a:spcAft>
          <a:spcPts val="680"/>
        </a:spcAft>
        <a:buFont typeface="Futura Com Book" panose="02000504030000020003" pitchFamily="2" charset="0"/>
        <a:buChar char="–"/>
        <a:defRPr sz="1587" kern="1200">
          <a:solidFill>
            <a:schemeClr val="tx1"/>
          </a:solidFill>
          <a:latin typeface="+mn-lt"/>
          <a:ea typeface="+mn-ea"/>
          <a:cs typeface="+mn-cs"/>
        </a:defRPr>
      </a:lvl4pPr>
      <a:lvl5pPr marL="611985" indent="-203995" algn="l" defTabSz="1036295" rtl="0" eaLnBrk="1" latinLnBrk="0" hangingPunct="1">
        <a:spcBef>
          <a:spcPts val="0"/>
        </a:spcBef>
        <a:spcAft>
          <a:spcPts val="680"/>
        </a:spcAft>
        <a:buFont typeface="Futura Com Book" panose="02000504030000020003" pitchFamily="2" charset="0"/>
        <a:buChar char="–"/>
        <a:defRPr sz="1587" kern="1200">
          <a:solidFill>
            <a:schemeClr val="tx1"/>
          </a:solidFill>
          <a:latin typeface="+mn-lt"/>
          <a:ea typeface="+mn-ea"/>
          <a:cs typeface="+mn-cs"/>
        </a:defRPr>
      </a:lvl5pPr>
      <a:lvl6pPr marL="611985" indent="-203995" algn="l" defTabSz="1036295" rtl="0" eaLnBrk="1" latinLnBrk="0" hangingPunct="1">
        <a:spcBef>
          <a:spcPts val="0"/>
        </a:spcBef>
        <a:spcAft>
          <a:spcPts val="680"/>
        </a:spcAft>
        <a:buFont typeface="Futura Com Book" panose="02000504030000020003" pitchFamily="2" charset="0"/>
        <a:buChar char="–"/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611985" indent="-203995" algn="l" defTabSz="1036295" rtl="0" eaLnBrk="1" latinLnBrk="0" hangingPunct="1">
        <a:spcBef>
          <a:spcPts val="0"/>
        </a:spcBef>
        <a:spcAft>
          <a:spcPts val="680"/>
        </a:spcAft>
        <a:buFont typeface="Futura Com Book" panose="02000504030000020003" pitchFamily="2" charset="0"/>
        <a:buChar char="–"/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611985" indent="-203995" algn="l" defTabSz="1036295" rtl="0" eaLnBrk="1" latinLnBrk="0" hangingPunct="1">
        <a:spcBef>
          <a:spcPts val="0"/>
        </a:spcBef>
        <a:spcAft>
          <a:spcPts val="680"/>
        </a:spcAft>
        <a:buFont typeface="Futura Com Book" panose="02000504030000020003" pitchFamily="2" charset="0"/>
        <a:buChar char="–"/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611985" indent="-203995" algn="l" defTabSz="1036295" rtl="0" eaLnBrk="1" latinLnBrk="0" hangingPunct="1">
        <a:spcBef>
          <a:spcPts val="0"/>
        </a:spcBef>
        <a:spcAft>
          <a:spcPts val="680"/>
        </a:spcAft>
        <a:buFont typeface="Futura Com Book" panose="02000504030000020003" pitchFamily="2" charset="0"/>
        <a:buChar char="–"/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36295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1pPr>
      <a:lvl2pPr marL="518147" algn="l" defTabSz="1036295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2pPr>
      <a:lvl3pPr marL="1036295" algn="l" defTabSz="1036295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3pPr>
      <a:lvl4pPr marL="1554441" algn="l" defTabSz="1036295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4pPr>
      <a:lvl5pPr marL="2072588" algn="l" defTabSz="1036295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5pPr>
      <a:lvl6pPr marL="2590735" algn="l" defTabSz="1036295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6pPr>
      <a:lvl7pPr marL="3108883" algn="l" defTabSz="1036295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7pPr>
      <a:lvl8pPr marL="3627029" algn="l" defTabSz="1036295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8pPr>
      <a:lvl9pPr marL="4145176" algn="l" defTabSz="1036295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353" y="535519"/>
            <a:ext cx="6703695" cy="19441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353" y="2677584"/>
            <a:ext cx="6703695" cy="6381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353" y="9322649"/>
            <a:ext cx="1748790" cy="5355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2/8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74608" y="9322649"/>
            <a:ext cx="2623185" cy="5355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89258" y="9322649"/>
            <a:ext cx="1748790" cy="5355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grpSp>
        <p:nvGrpSpPr>
          <p:cNvPr id="7" name="Group 31"/>
          <p:cNvGrpSpPr>
            <a:grpSpLocks/>
          </p:cNvGrpSpPr>
          <p:nvPr userDrawn="1"/>
        </p:nvGrpSpPr>
        <p:grpSpPr bwMode="auto">
          <a:xfrm>
            <a:off x="-151130" y="-344595"/>
            <a:ext cx="8085455" cy="10781737"/>
            <a:chOff x="-237360" y="-234665"/>
            <a:chExt cx="10396982" cy="7351041"/>
          </a:xfrm>
        </p:grpSpPr>
        <p:grpSp>
          <p:nvGrpSpPr>
            <p:cNvPr id="8" name="Group 32"/>
            <p:cNvGrpSpPr>
              <a:grpSpLocks/>
            </p:cNvGrpSpPr>
            <p:nvPr userDrawn="1"/>
          </p:nvGrpSpPr>
          <p:grpSpPr bwMode="auto">
            <a:xfrm>
              <a:off x="940447" y="-234665"/>
              <a:ext cx="8025208" cy="186573"/>
              <a:chOff x="940447" y="-308307"/>
              <a:chExt cx="8025208" cy="7436076"/>
            </a:xfrm>
          </p:grpSpPr>
          <p:cxnSp>
            <p:nvCxnSpPr>
              <p:cNvPr id="22" name="Straight Connector 21"/>
              <p:cNvCxnSpPr/>
              <p:nvPr userDrawn="1"/>
            </p:nvCxnSpPr>
            <p:spPr>
              <a:xfrm>
                <a:off x="940803" y="-308307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>
              <a:xfrm>
                <a:off x="8965843" y="-308307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oup 33"/>
            <p:cNvGrpSpPr>
              <a:grpSpLocks/>
            </p:cNvGrpSpPr>
            <p:nvPr userDrawn="1"/>
          </p:nvGrpSpPr>
          <p:grpSpPr bwMode="auto">
            <a:xfrm>
              <a:off x="-237360" y="364803"/>
              <a:ext cx="189246" cy="5362215"/>
              <a:chOff x="-276806" y="364803"/>
              <a:chExt cx="10477961" cy="5362215"/>
            </a:xfrm>
          </p:grpSpPr>
          <p:cxnSp>
            <p:nvCxnSpPr>
              <p:cNvPr id="18" name="Straight Connector 17"/>
              <p:cNvCxnSpPr/>
              <p:nvPr userDrawn="1"/>
            </p:nvCxnSpPr>
            <p:spPr>
              <a:xfrm>
                <a:off x="-276806" y="364340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/>
              <p:cNvCxnSpPr/>
              <p:nvPr userDrawn="1"/>
            </p:nvCxnSpPr>
            <p:spPr>
              <a:xfrm>
                <a:off x="-276806" y="5727870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 userDrawn="1"/>
            </p:nvCxnSpPr>
            <p:spPr>
              <a:xfrm>
                <a:off x="-276806" y="937947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>
              <a:xfrm>
                <a:off x="-276806" y="1507318"/>
                <a:ext cx="10471546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34"/>
            <p:cNvGrpSpPr>
              <a:grpSpLocks/>
            </p:cNvGrpSpPr>
            <p:nvPr userDrawn="1"/>
          </p:nvGrpSpPr>
          <p:grpSpPr bwMode="auto">
            <a:xfrm>
              <a:off x="940447" y="6929803"/>
              <a:ext cx="8025208" cy="186573"/>
              <a:chOff x="940447" y="-308307"/>
              <a:chExt cx="8025208" cy="7436076"/>
            </a:xfrm>
          </p:grpSpPr>
          <p:cxnSp>
            <p:nvCxnSpPr>
              <p:cNvPr id="16" name="Straight Connector 15"/>
              <p:cNvCxnSpPr/>
              <p:nvPr userDrawn="1"/>
            </p:nvCxnSpPr>
            <p:spPr>
              <a:xfrm>
                <a:off x="940803" y="-295978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/>
              <p:cNvCxnSpPr/>
              <p:nvPr userDrawn="1"/>
            </p:nvCxnSpPr>
            <p:spPr>
              <a:xfrm>
                <a:off x="8965843" y="-295978"/>
                <a:ext cx="0" cy="7423747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35"/>
            <p:cNvGrpSpPr>
              <a:grpSpLocks/>
            </p:cNvGrpSpPr>
            <p:nvPr userDrawn="1"/>
          </p:nvGrpSpPr>
          <p:grpSpPr bwMode="auto">
            <a:xfrm>
              <a:off x="9970375" y="364803"/>
              <a:ext cx="189247" cy="5362215"/>
              <a:chOff x="-276871" y="364803"/>
              <a:chExt cx="10477995" cy="5362215"/>
            </a:xfrm>
          </p:grpSpPr>
          <p:cxnSp>
            <p:nvCxnSpPr>
              <p:cNvPr id="12" name="Straight Connector 11"/>
              <p:cNvCxnSpPr/>
              <p:nvPr userDrawn="1"/>
            </p:nvCxnSpPr>
            <p:spPr>
              <a:xfrm>
                <a:off x="-270396" y="364340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/>
              <p:cNvCxnSpPr/>
              <p:nvPr userDrawn="1"/>
            </p:nvCxnSpPr>
            <p:spPr>
              <a:xfrm>
                <a:off x="-270396" y="5727870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/>
              <p:cNvCxnSpPr/>
              <p:nvPr userDrawn="1"/>
            </p:nvCxnSpPr>
            <p:spPr>
              <a:xfrm>
                <a:off x="-270396" y="937947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>
              <a:xfrm>
                <a:off x="-270396" y="1509436"/>
                <a:ext cx="10471520" cy="0"/>
              </a:xfrm>
              <a:prstGeom prst="line">
                <a:avLst/>
              </a:prstGeom>
              <a:ln w="9525" cmpd="sng">
                <a:prstDash val="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48577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  <p:sldLayoutId id="2147483884" r:id="rId12"/>
  </p:sldLayoutIdLst>
  <p:transition spd="med">
    <p:fade/>
  </p:transition>
  <p:hf hdr="0" dt="0"/>
  <p:txStyles>
    <p:titleStyle>
      <a:lvl1pPr algn="l" defTabSz="777240" rtl="0" eaLnBrk="1" latinLnBrk="0" hangingPunct="1">
        <a:lnSpc>
          <a:spcPct val="90000"/>
        </a:lnSpc>
        <a:spcBef>
          <a:spcPct val="0"/>
        </a:spcBef>
        <a:buNone/>
        <a:defRPr sz="374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4310" indent="-194310" algn="l" defTabSz="777240" rtl="0" eaLnBrk="1" latinLnBrk="0" hangingPunct="1">
        <a:lnSpc>
          <a:spcPct val="90000"/>
        </a:lnSpc>
        <a:spcBef>
          <a:spcPts val="850"/>
        </a:spcBef>
        <a:buFont typeface="Arial" panose="020B0604020202020204" pitchFamily="34" charset="0"/>
        <a:buChar char="•"/>
        <a:defRPr sz="2380" kern="1200">
          <a:solidFill>
            <a:schemeClr val="tx1"/>
          </a:solidFill>
          <a:latin typeface="+mn-lt"/>
          <a:ea typeface="+mn-ea"/>
          <a:cs typeface="+mn-cs"/>
        </a:defRPr>
      </a:lvl1pPr>
      <a:lvl2pPr marL="58293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2pPr>
      <a:lvl3pPr marL="97155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17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4pPr>
      <a:lvl5pPr marL="174879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5pPr>
      <a:lvl6pPr marL="213741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52603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91465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30327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1pPr>
      <a:lvl2pPr marL="38862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2pPr>
      <a:lvl3pPr marL="77724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3pPr>
      <a:lvl4pPr marL="116586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4pPr>
      <a:lvl5pPr marL="155448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5pPr>
      <a:lvl6pPr marL="194310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33172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72034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10896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6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7772400" cy="1014723"/>
          </a:xfrm>
          <a:prstGeom prst="rect">
            <a:avLst/>
          </a:prstGeom>
          <a:solidFill>
            <a:srgbClr val="092E6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78362" y="65026"/>
            <a:ext cx="5080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Bull Thin 2" charset="0"/>
                <a:ea typeface="Bull Thin 2" charset="0"/>
                <a:cs typeface="Bull Thin 2" charset="0"/>
              </a:rPr>
              <a:t>RED BULL TWITCH CONTENT REPOR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8362" y="474448"/>
            <a:ext cx="66656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Bull Thin 2" charset="0"/>
                <a:ea typeface="Bull Thin 2" charset="0"/>
                <a:cs typeface="Bull Thin 2" charset="0"/>
              </a:rPr>
              <a:t>Name of Content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52106" b="-4889"/>
          <a:stretch/>
        </p:blipFill>
        <p:spPr>
          <a:xfrm>
            <a:off x="6183153" y="102397"/>
            <a:ext cx="842909" cy="35225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986" t="4416" b="65154"/>
          <a:stretch/>
        </p:blipFill>
        <p:spPr>
          <a:xfrm>
            <a:off x="7123958" y="160731"/>
            <a:ext cx="453222" cy="204172"/>
          </a:xfrm>
          <a:prstGeom prst="rect">
            <a:avLst/>
          </a:prstGeom>
        </p:spPr>
      </p:pic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067752"/>
              </p:ext>
            </p:extLst>
          </p:nvPr>
        </p:nvGraphicFramePr>
        <p:xfrm>
          <a:off x="17926" y="1060470"/>
          <a:ext cx="7752522" cy="2356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24" name="Straight Connector 23"/>
          <p:cNvCxnSpPr>
            <a:cxnSpLocks/>
          </p:cNvCxnSpPr>
          <p:nvPr/>
        </p:nvCxnSpPr>
        <p:spPr>
          <a:xfrm>
            <a:off x="3884248" y="6476456"/>
            <a:ext cx="0" cy="364493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288292" y="6716296"/>
            <a:ext cx="8790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>
                <a:solidFill>
                  <a:srgbClr val="092E62"/>
                </a:solidFill>
                <a:latin typeface="Bull Heavy 1" charset="0"/>
                <a:ea typeface="Bull Heavy 1" charset="0"/>
                <a:cs typeface="Bull Heavy 1" charset="0"/>
              </a:rPr>
              <a:t>STREAM VIEWER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017242" y="9501641"/>
            <a:ext cx="6250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Bull Thin 2" charset="0"/>
                <a:ea typeface="Bull Thin 2" charset="0"/>
                <a:cs typeface="Bull Thin 2" charset="0"/>
              </a:rPr>
              <a:t>192%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65199" y="1275603"/>
            <a:ext cx="13769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>
                <a:solidFill>
                  <a:srgbClr val="092E62"/>
                </a:solidFill>
                <a:latin typeface="Bull Heavy 1" charset="0"/>
                <a:ea typeface="Bull Heavy 1" charset="0"/>
                <a:cs typeface="Bull Heavy 1" charset="0"/>
              </a:rPr>
              <a:t>FINDINGS/</a:t>
            </a:r>
          </a:p>
          <a:p>
            <a:pPr algn="r"/>
            <a:r>
              <a:rPr lang="en-US" sz="1200" b="1" dirty="0">
                <a:solidFill>
                  <a:srgbClr val="092E62"/>
                </a:solidFill>
                <a:latin typeface="Bull Heavy 1" charset="0"/>
                <a:ea typeface="Bull Heavy 1" charset="0"/>
                <a:cs typeface="Bull Heavy 1" charset="0"/>
              </a:rPr>
              <a:t>INSIGHTS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64677" y="3867608"/>
            <a:ext cx="12999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>
                <a:solidFill>
                  <a:srgbClr val="092E62"/>
                </a:solidFill>
                <a:latin typeface="Bull Heavy 1" charset="0"/>
                <a:ea typeface="Bull Heavy 1" charset="0"/>
                <a:cs typeface="Bull Heavy 1" charset="0"/>
              </a:rPr>
              <a:t>TOTAL CHANNEL VIEWS</a:t>
            </a:r>
          </a:p>
        </p:txBody>
      </p:sp>
      <p:cxnSp>
        <p:nvCxnSpPr>
          <p:cNvPr id="44" name="Straight Connector 43"/>
          <p:cNvCxnSpPr/>
          <p:nvPr/>
        </p:nvCxnSpPr>
        <p:spPr>
          <a:xfrm>
            <a:off x="0" y="6646716"/>
            <a:ext cx="7772400" cy="0"/>
          </a:xfrm>
          <a:prstGeom prst="line">
            <a:avLst/>
          </a:prstGeom>
          <a:ln>
            <a:solidFill>
              <a:srgbClr val="092E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-1952" y="3846710"/>
            <a:ext cx="7772400" cy="0"/>
          </a:xfrm>
          <a:prstGeom prst="line">
            <a:avLst/>
          </a:prstGeom>
          <a:ln>
            <a:solidFill>
              <a:srgbClr val="092E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B416DA8-945D-8947-B603-A631502B9C25}"/>
              </a:ext>
            </a:extLst>
          </p:cNvPr>
          <p:cNvCxnSpPr/>
          <p:nvPr/>
        </p:nvCxnSpPr>
        <p:spPr>
          <a:xfrm>
            <a:off x="-1952" y="1984754"/>
            <a:ext cx="7772400" cy="0"/>
          </a:xfrm>
          <a:prstGeom prst="line">
            <a:avLst/>
          </a:prstGeom>
          <a:ln>
            <a:solidFill>
              <a:srgbClr val="092E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8B8126A7-FFE6-DA44-89EB-4E272C368BFB}"/>
              </a:ext>
            </a:extLst>
          </p:cNvPr>
          <p:cNvSpPr txBox="1"/>
          <p:nvPr/>
        </p:nvSpPr>
        <p:spPr>
          <a:xfrm>
            <a:off x="-65199" y="2496962"/>
            <a:ext cx="13769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>
                <a:solidFill>
                  <a:srgbClr val="092E62"/>
                </a:solidFill>
                <a:latin typeface="Bull Heavy 1" charset="0"/>
                <a:ea typeface="Bull Heavy 1" charset="0"/>
                <a:cs typeface="Bull Heavy 1" charset="0"/>
              </a:rPr>
              <a:t>SUMMARY METRICS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18456F77-0C4D-944A-8C9A-789B827F29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9453043"/>
              </p:ext>
            </p:extLst>
          </p:nvPr>
        </p:nvGraphicFramePr>
        <p:xfrm>
          <a:off x="2307678" y="2103277"/>
          <a:ext cx="3204554" cy="1600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90916">
                  <a:extLst>
                    <a:ext uri="{9D8B030D-6E8A-4147-A177-3AD203B41FA5}">
                      <a16:colId xmlns:a16="http://schemas.microsoft.com/office/drawing/2014/main" val="3079883090"/>
                    </a:ext>
                  </a:extLst>
                </a:gridCol>
                <a:gridCol w="913638">
                  <a:extLst>
                    <a:ext uri="{9D8B030D-6E8A-4147-A177-3AD203B41FA5}">
                      <a16:colId xmlns:a16="http://schemas.microsoft.com/office/drawing/2014/main" val="182341971"/>
                    </a:ext>
                  </a:extLst>
                </a:gridCol>
              </a:tblGrid>
              <a:tr h="203312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bg1"/>
                          </a:solidFill>
                          <a:latin typeface="Bull" panose="020B0504040000000000" pitchFamily="34" charset="0"/>
                        </a:rPr>
                        <a:t>Metric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2E6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solidFill>
                            <a:schemeClr val="bg1"/>
                          </a:solidFill>
                          <a:latin typeface="Bull" panose="020B0504040000000000" pitchFamily="34" charset="0"/>
                        </a:rPr>
                        <a:t>Valu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2E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353050"/>
                  </a:ext>
                </a:extLst>
              </a:tr>
              <a:tr h="203312"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Increase in Total Views on Channe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7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/>
                          </a:solidFill>
                          <a:latin typeface="Bull" panose="020B0504040000000000" pitchFamily="34" charset="0"/>
                        </a:rPr>
                        <a:t>#######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04687160"/>
                  </a:ext>
                </a:extLst>
              </a:tr>
              <a:tr h="203312"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Total Minutes Watched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#######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98787616"/>
                  </a:ext>
                </a:extLst>
              </a:tr>
              <a:tr h="203312"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Least Viewe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######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47632037"/>
                  </a:ext>
                </a:extLst>
              </a:tr>
              <a:tr h="203312"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Max Concurrence/ Peak Viewe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######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69254141"/>
                  </a:ext>
                </a:extLst>
              </a:tr>
              <a:tr h="203312"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Average Stream Viewe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######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1295332"/>
                  </a:ext>
                </a:extLst>
              </a:tr>
              <a:tr h="203312"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Increase in Followers During Stream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Bull" panose="020B0504040000000000" pitchFamily="34" charset="0"/>
                        </a:rPr>
                        <a:t>######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6914979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26CA583E-A04D-8E4F-B992-C68C4294C1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2237856"/>
              </p:ext>
            </p:extLst>
          </p:nvPr>
        </p:nvGraphicFramePr>
        <p:xfrm>
          <a:off x="1648819" y="1146271"/>
          <a:ext cx="5595132" cy="7315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595132">
                  <a:extLst>
                    <a:ext uri="{9D8B030D-6E8A-4147-A177-3AD203B41FA5}">
                      <a16:colId xmlns:a16="http://schemas.microsoft.com/office/drawing/2014/main" val="2304463602"/>
                    </a:ext>
                  </a:extLst>
                </a:gridCol>
              </a:tblGrid>
              <a:tr h="212256">
                <a:tc>
                  <a:txBody>
                    <a:bodyPr/>
                    <a:lstStyle/>
                    <a:p>
                      <a:pPr marL="0" marR="0" lvl="0" indent="0" algn="l" defTabSz="777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Bull" panose="020B0504040000000000" pitchFamily="34" charset="0"/>
                        </a:rPr>
                        <a:t>1.) </a:t>
                      </a:r>
                      <a:r>
                        <a:rPr lang="en-US" sz="1000" dirty="0"/>
                        <a:t>Insight 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5548947"/>
                  </a:ext>
                </a:extLst>
              </a:tr>
              <a:tr h="221163">
                <a:tc>
                  <a:txBody>
                    <a:bodyPr/>
                    <a:lstStyle/>
                    <a:p>
                      <a:pPr marL="0" marR="0" lvl="0" indent="0" algn="l" defTabSz="777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Bull" panose="020B0504040000000000" pitchFamily="34" charset="0"/>
                        </a:rPr>
                        <a:t>2.) </a:t>
                      </a:r>
                      <a:r>
                        <a:rPr lang="en-US" sz="1000" dirty="0"/>
                        <a:t>Insight 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2022822"/>
                  </a:ext>
                </a:extLst>
              </a:tr>
              <a:tr h="218194">
                <a:tc>
                  <a:txBody>
                    <a:bodyPr/>
                    <a:lstStyle/>
                    <a:p>
                      <a:pPr marL="0" marR="0" lvl="0" indent="0" algn="l" defTabSz="777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Bull" panose="020B0504040000000000" pitchFamily="34" charset="0"/>
                        </a:rPr>
                        <a:t>3.) </a:t>
                      </a:r>
                      <a:r>
                        <a:rPr lang="en-US" sz="1000" b="0" dirty="0">
                          <a:latin typeface="Bull" panose="020B0504040000000000" pitchFamily="34" charset="0"/>
                        </a:rPr>
                        <a:t>Insight 3</a:t>
                      </a:r>
                      <a:endParaRPr lang="en-US" sz="1000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6862152"/>
                  </a:ext>
                </a:extLst>
              </a:tr>
            </a:tbl>
          </a:graphicData>
        </a:graphic>
      </p:graphicFrame>
      <p:sp>
        <p:nvSpPr>
          <p:cNvPr id="43" name="TextBox 42">
            <a:extLst>
              <a:ext uri="{FF2B5EF4-FFF2-40B4-BE49-F238E27FC236}">
                <a16:creationId xmlns:a16="http://schemas.microsoft.com/office/drawing/2014/main" id="{18FF09C6-C635-F34D-842E-DCBC4730EA83}"/>
              </a:ext>
            </a:extLst>
          </p:cNvPr>
          <p:cNvSpPr txBox="1"/>
          <p:nvPr/>
        </p:nvSpPr>
        <p:spPr>
          <a:xfrm>
            <a:off x="4167317" y="6716296"/>
            <a:ext cx="9601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>
                <a:solidFill>
                  <a:srgbClr val="092E62"/>
                </a:solidFill>
                <a:latin typeface="Bull Heavy 1" charset="0"/>
                <a:ea typeface="Bull Heavy 1" charset="0"/>
                <a:cs typeface="Bull Heavy 1" charset="0"/>
              </a:rPr>
              <a:t>MINUTES WATCHED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37A2EA2-B1B4-9546-A485-C7E054D0E14B}"/>
              </a:ext>
            </a:extLst>
          </p:cNvPr>
          <p:cNvSpPr txBox="1"/>
          <p:nvPr/>
        </p:nvSpPr>
        <p:spPr>
          <a:xfrm>
            <a:off x="4152869" y="9617405"/>
            <a:ext cx="34508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Bull" panose="020B0504040000000000" pitchFamily="34" charset="0"/>
              </a:rPr>
              <a:t>* Assumes that each viewer watched a minute.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0ED55-F9B2-7D46-B02A-474B70EFB130}"/>
              </a:ext>
            </a:extLst>
          </p:cNvPr>
          <p:cNvCxnSpPr>
            <a:cxnSpLocks/>
          </p:cNvCxnSpPr>
          <p:nvPr/>
        </p:nvCxnSpPr>
        <p:spPr>
          <a:xfrm>
            <a:off x="3884248" y="3867608"/>
            <a:ext cx="0" cy="2599228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3F2066FA-67ED-7C47-B7B2-E6DEDF5A95C3}"/>
              </a:ext>
            </a:extLst>
          </p:cNvPr>
          <p:cNvSpPr txBox="1"/>
          <p:nvPr/>
        </p:nvSpPr>
        <p:spPr>
          <a:xfrm>
            <a:off x="4161373" y="3903358"/>
            <a:ext cx="1014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>
                <a:solidFill>
                  <a:srgbClr val="092E62"/>
                </a:solidFill>
                <a:latin typeface="Bull Heavy 1" charset="0"/>
                <a:ea typeface="Bull Heavy 1" charset="0"/>
                <a:cs typeface="Bull Heavy 1" charset="0"/>
              </a:rPr>
              <a:t>FOLLOWER COUNT</a:t>
            </a:r>
          </a:p>
        </p:txBody>
      </p:sp>
    </p:spTree>
    <p:extLst>
      <p:ext uri="{BB962C8B-B14F-4D97-AF65-F5344CB8AC3E}">
        <p14:creationId xmlns:p14="http://schemas.microsoft.com/office/powerpoint/2010/main" val="277260780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ontent Slides">
  <a:themeElements>
    <a:clrScheme name="Custom 20">
      <a:dk1>
        <a:srgbClr val="000000"/>
      </a:dk1>
      <a:lt1>
        <a:srgbClr val="FFFFFF"/>
      </a:lt1>
      <a:dk2>
        <a:srgbClr val="636466"/>
      </a:dk2>
      <a:lt2>
        <a:srgbClr val="FEFFFF"/>
      </a:lt2>
      <a:accent1>
        <a:srgbClr val="DA203F"/>
      </a:accent1>
      <a:accent2>
        <a:srgbClr val="F29309"/>
      </a:accent2>
      <a:accent3>
        <a:srgbClr val="FAD409"/>
      </a:accent3>
      <a:accent4>
        <a:srgbClr val="0A86CA"/>
      </a:accent4>
      <a:accent5>
        <a:srgbClr val="0A2E63"/>
      </a:accent5>
      <a:accent6>
        <a:srgbClr val="CCCCCC"/>
      </a:accent6>
      <a:hlink>
        <a:srgbClr val="0563C1"/>
      </a:hlink>
      <a:folHlink>
        <a:srgbClr val="954F72"/>
      </a:folHlink>
    </a:clrScheme>
    <a:fontScheme name="Bull">
      <a:majorFont>
        <a:latin typeface="Bull Heavy 1"/>
        <a:ea typeface=""/>
        <a:cs typeface=""/>
      </a:majorFont>
      <a:minorFont>
        <a:latin typeface="Bull Thin 2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>
          <a:defRPr sz="1200" dirty="0" err="1">
            <a:latin typeface="Bull Thin 2" charset="0"/>
            <a:ea typeface="Bull Thin 2" charset="0"/>
            <a:cs typeface="Bull Thin 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ontent Slides">
  <a:themeElements>
    <a:clrScheme name="Custom 20">
      <a:dk1>
        <a:srgbClr val="000000"/>
      </a:dk1>
      <a:lt1>
        <a:srgbClr val="FFFFFF"/>
      </a:lt1>
      <a:dk2>
        <a:srgbClr val="636466"/>
      </a:dk2>
      <a:lt2>
        <a:srgbClr val="FEFFFF"/>
      </a:lt2>
      <a:accent1>
        <a:srgbClr val="DA203F"/>
      </a:accent1>
      <a:accent2>
        <a:srgbClr val="F29309"/>
      </a:accent2>
      <a:accent3>
        <a:srgbClr val="FAD409"/>
      </a:accent3>
      <a:accent4>
        <a:srgbClr val="0A86CA"/>
      </a:accent4>
      <a:accent5>
        <a:srgbClr val="0A2E63"/>
      </a:accent5>
      <a:accent6>
        <a:srgbClr val="CCCCCC"/>
      </a:accent6>
      <a:hlink>
        <a:srgbClr val="0563C1"/>
      </a:hlink>
      <a:folHlink>
        <a:srgbClr val="954F72"/>
      </a:folHlink>
    </a:clrScheme>
    <a:fontScheme name="Bull">
      <a:majorFont>
        <a:latin typeface="Bull Heavy 1"/>
        <a:ea typeface=""/>
        <a:cs typeface=""/>
      </a:majorFont>
      <a:minorFont>
        <a:latin typeface="Bull Thin 2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>
          <a:defRPr sz="1200" dirty="0" err="1">
            <a:latin typeface="Bull Thin 2" charset="0"/>
            <a:ea typeface="Bull Thin 2" charset="0"/>
            <a:cs typeface="Bull Thin 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Content Slides">
  <a:themeElements>
    <a:clrScheme name="Custom 20">
      <a:dk1>
        <a:srgbClr val="000000"/>
      </a:dk1>
      <a:lt1>
        <a:srgbClr val="FFFFFF"/>
      </a:lt1>
      <a:dk2>
        <a:srgbClr val="636466"/>
      </a:dk2>
      <a:lt2>
        <a:srgbClr val="FEFFFF"/>
      </a:lt2>
      <a:accent1>
        <a:srgbClr val="DA203F"/>
      </a:accent1>
      <a:accent2>
        <a:srgbClr val="F29309"/>
      </a:accent2>
      <a:accent3>
        <a:srgbClr val="FAD409"/>
      </a:accent3>
      <a:accent4>
        <a:srgbClr val="0A86CA"/>
      </a:accent4>
      <a:accent5>
        <a:srgbClr val="0A2E63"/>
      </a:accent5>
      <a:accent6>
        <a:srgbClr val="CCCCCC"/>
      </a:accent6>
      <a:hlink>
        <a:srgbClr val="0563C1"/>
      </a:hlink>
      <a:folHlink>
        <a:srgbClr val="954F72"/>
      </a:folHlink>
    </a:clrScheme>
    <a:fontScheme name="Bull">
      <a:majorFont>
        <a:latin typeface="Bull Heavy 1"/>
        <a:ea typeface=""/>
        <a:cs typeface=""/>
      </a:majorFont>
      <a:minorFont>
        <a:latin typeface="Bull Thin 2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>
          <a:defRPr sz="1200" dirty="0" err="1">
            <a:latin typeface="Bull Thin 2" charset="0"/>
            <a:ea typeface="Bull Thin 2" charset="0"/>
            <a:cs typeface="Bull Thin 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Red Bull Master Blue">
  <a:themeElements>
    <a:clrScheme name="Red Bull">
      <a:dk1>
        <a:srgbClr val="404040"/>
      </a:dk1>
      <a:lt1>
        <a:srgbClr val="D8D8D8"/>
      </a:lt1>
      <a:dk2>
        <a:srgbClr val="404040"/>
      </a:dk2>
      <a:lt2>
        <a:srgbClr val="FFFFFF"/>
      </a:lt2>
      <a:accent1>
        <a:srgbClr val="153B8B"/>
      </a:accent1>
      <a:accent2>
        <a:srgbClr val="487AE3"/>
      </a:accent2>
      <a:accent3>
        <a:srgbClr val="ED1847"/>
      </a:accent3>
      <a:accent4>
        <a:srgbClr val="F47490"/>
      </a:accent4>
      <a:accent5>
        <a:srgbClr val="FFC423"/>
      </a:accent5>
      <a:accent6>
        <a:srgbClr val="B2B2B2"/>
      </a:accent6>
      <a:hlink>
        <a:srgbClr val="ED1847"/>
      </a:hlink>
      <a:folHlink>
        <a:srgbClr val="404040"/>
      </a:folHlink>
    </a:clrScheme>
    <a:fontScheme name="Red Bull">
      <a:majorFont>
        <a:latin typeface="Futura Com Bold Condensed"/>
        <a:ea typeface=""/>
        <a:cs typeface=""/>
      </a:majorFont>
      <a:minorFont>
        <a:latin typeface="Futura Com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</a:spPr>
      <a:bodyPr lIns="72000" tIns="72000" rIns="72000" bIns="72000" rtlCol="0" anchor="ctr"/>
      <a:lstStyle>
        <a:defPPr algn="ctr">
          <a:defRPr sz="1400" dirty="0" err="1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 anchor="ctr" anchorCtr="0">
        <a:noAutofit/>
      </a:bodyPr>
      <a:lstStyle>
        <a:defPPr algn="ctr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d Bull Master.pptx" id="{6F5CB7A3-6082-4701-943D-6DE02FBE790A}" vid="{A0880CD0-4533-4622-95A4-7737539A7230}"/>
    </a:ext>
  </a:extLst>
</a:theme>
</file>

<file path=ppt/theme/theme5.xml><?xml version="1.0" encoding="utf-8"?>
<a:theme xmlns:a="http://schemas.openxmlformats.org/drawingml/2006/main" name="5_Content Slides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330</TotalTime>
  <Words>77</Words>
  <Application>Microsoft Macintosh PowerPoint</Application>
  <PresentationFormat>Custom</PresentationFormat>
  <Paragraphs>2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5" baseType="lpstr">
      <vt:lpstr>Arial</vt:lpstr>
      <vt:lpstr>Bull</vt:lpstr>
      <vt:lpstr>Bull Heavy 1</vt:lpstr>
      <vt:lpstr>Bull Thin 2</vt:lpstr>
      <vt:lpstr>Calibri</vt:lpstr>
      <vt:lpstr>Calibri Light</vt:lpstr>
      <vt:lpstr>Futura Com Bold Condensed</vt:lpstr>
      <vt:lpstr>Futura Com Book</vt:lpstr>
      <vt:lpstr>1_Content Slides</vt:lpstr>
      <vt:lpstr>2_Content Slides</vt:lpstr>
      <vt:lpstr>3_Content Slides</vt:lpstr>
      <vt:lpstr>Red Bull Master Blue</vt:lpstr>
      <vt:lpstr>5_Content Slides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Natalie Cabayan</cp:lastModifiedBy>
  <cp:revision>253</cp:revision>
  <cp:lastPrinted>2018-06-22T23:34:00Z</cp:lastPrinted>
  <dcterms:created xsi:type="dcterms:W3CDTF">2018-02-23T22:46:35Z</dcterms:created>
  <dcterms:modified xsi:type="dcterms:W3CDTF">2019-02-08T23:55:04Z</dcterms:modified>
</cp:coreProperties>
</file>